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7"/>
  </p:notesMasterIdLst>
  <p:sldIdLst>
    <p:sldId id="287" r:id="rId5"/>
    <p:sldId id="286" r:id="rId6"/>
  </p:sldIdLst>
  <p:sldSz cx="9906000" cy="6858000" type="A4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ourtney Grace" initials="CG" lastIdx="10" clrIdx="0">
    <p:extLst>
      <p:ext uri="{19B8F6BF-5375-455C-9EA6-DF929625EA0E}">
        <p15:presenceInfo xmlns:p15="http://schemas.microsoft.com/office/powerpoint/2012/main" userId="Courtney Grace" providerId="None"/>
      </p:ext>
    </p:extLst>
  </p:cmAuthor>
  <p:cmAuthor id="2" name="Riddle, Sarah E" initials="RSE" lastIdx="5" clrIdx="1">
    <p:extLst>
      <p:ext uri="{19B8F6BF-5375-455C-9EA6-DF929625EA0E}">
        <p15:presenceInfo xmlns:p15="http://schemas.microsoft.com/office/powerpoint/2012/main" userId="S::08816328@education.vic.gov.au::b40a847a-0b22-4c52-b215-411a7c872c2b" providerId="AD"/>
      </p:ext>
    </p:extLst>
  </p:cmAuthor>
  <p:cmAuthor id="3" name="Jessie Horder-Geraghty" initials="JH" lastIdx="3" clrIdx="2">
    <p:extLst>
      <p:ext uri="{19B8F6BF-5375-455C-9EA6-DF929625EA0E}">
        <p15:presenceInfo xmlns:p15="http://schemas.microsoft.com/office/powerpoint/2012/main" userId="S::Jessie.HorderGeraghty@nousgroup.com.au::f86d37be-86fe-4d94-b3e9-821d341158dc" providerId="AD"/>
      </p:ext>
    </p:extLst>
  </p:cmAuthor>
  <p:cmAuthor id="4" name="Paul Kennedy" initials="PK" lastIdx="1" clrIdx="3">
    <p:extLst>
      <p:ext uri="{19B8F6BF-5375-455C-9EA6-DF929625EA0E}">
        <p15:presenceInfo xmlns:p15="http://schemas.microsoft.com/office/powerpoint/2012/main" userId="S::Paul.Kennedy@nousgroup.com.au::69ab3aa8-46fb-4f4f-b746-60d03f624001" providerId="AD"/>
      </p:ext>
    </p:extLst>
  </p:cmAuthor>
  <p:cmAuthor id="5" name="Karen Kerr" initials="KK" lastIdx="1" clrIdx="4">
    <p:extLst>
      <p:ext uri="{19B8F6BF-5375-455C-9EA6-DF929625EA0E}">
        <p15:presenceInfo xmlns:p15="http://schemas.microsoft.com/office/powerpoint/2012/main" userId="S::kkerr@mav.asn.au::59703a1c-d72e-479f-adea-3a34184470a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F27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30"/>
  </p:normalViewPr>
  <p:slideViewPr>
    <p:cSldViewPr snapToGrid="0">
      <p:cViewPr varScale="1">
        <p:scale>
          <a:sx n="104" d="100"/>
          <a:sy n="104" d="100"/>
        </p:scale>
        <p:origin x="774" y="10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DB6F6F-BF66-B147-B528-34B96D2910EC}" type="datetimeFigureOut">
              <a:rPr lang="en-US" smtClean="0"/>
              <a:t>11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696EE-E175-4144-B35C-D4A1B167B9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3577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838" y="1520824"/>
            <a:ext cx="9166489" cy="4608514"/>
          </a:xfrm>
          <a:prstGeom prst="rect">
            <a:avLst/>
          </a:prstGeom>
        </p:spPr>
        <p:txBody>
          <a:bodyPr/>
          <a:lstStyle>
            <a:lvl1pPr>
              <a:defRPr sz="2167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EC307B0-375F-4798-BD65-952DE4FE376B}"/>
              </a:ext>
            </a:extLst>
          </p:cNvPr>
          <p:cNvSpPr/>
          <p:nvPr userDrawn="1"/>
        </p:nvSpPr>
        <p:spPr>
          <a:xfrm>
            <a:off x="3176" y="5822306"/>
            <a:ext cx="9902824" cy="103569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7526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FD783A7-90BF-480F-9153-E1712B6083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04871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FD783A7-90BF-480F-9153-E1712B6083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772D427-246A-47CA-A91E-ECF3B4D897E0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83" b="1" i="0" baseline="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0838" y="372131"/>
            <a:ext cx="9165163" cy="788333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838" y="6315262"/>
            <a:ext cx="2655845" cy="360000"/>
          </a:xfrm>
          <a:prstGeom prst="rect">
            <a:avLst/>
          </a:prstGeom>
        </p:spPr>
      </p:pic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350837" y="1520824"/>
            <a:ext cx="9165164" cy="460851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9042832" y="6315263"/>
            <a:ext cx="473169" cy="365125"/>
          </a:xfrm>
          <a:prstGeom prst="rect">
            <a:avLst/>
          </a:prstGeom>
        </p:spPr>
        <p:txBody>
          <a:bodyPr vert="horz" lIns="99060" tIns="49530" rIns="99060" bIns="4953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A24533-5F6B-C74A-A407-C6E152561DB3}" type="slidenum">
              <a:rPr lang="en-US" sz="1300" smtClean="0">
                <a:latin typeface="Arial" charset="0"/>
                <a:ea typeface="Arial" charset="0"/>
                <a:cs typeface="Arial" charset="0"/>
              </a:rPr>
              <a:pPr/>
              <a:t>‹#›</a:t>
            </a:fld>
            <a:endParaRPr lang="en-US" sz="130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3205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</p:sldLayoutIdLst>
  <p:txStyles>
    <p:titleStyle>
      <a:lvl1pPr algn="l" defTabSz="990570" rtl="0" eaLnBrk="1" latinLnBrk="0" hangingPunct="1">
        <a:lnSpc>
          <a:spcPct val="90000"/>
        </a:lnSpc>
        <a:spcBef>
          <a:spcPct val="0"/>
        </a:spcBef>
        <a:buNone/>
        <a:defRPr sz="2383" b="1" i="0" kern="1200" baseline="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0" indent="0" algn="l" defTabSz="990570" rtl="0" eaLnBrk="1" latinLnBrk="0" hangingPunct="1">
        <a:lnSpc>
          <a:spcPct val="100000"/>
        </a:lnSpc>
        <a:spcBef>
          <a:spcPts val="1083"/>
        </a:spcBef>
        <a:buFont typeface="Arial" panose="020B0604020202020204" pitchFamily="34" charset="0"/>
        <a:buNone/>
        <a:defRPr sz="2167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0" indent="0" algn="l" defTabSz="990570" rtl="0" eaLnBrk="1" latinLnBrk="0" hangingPunct="1">
        <a:lnSpc>
          <a:spcPct val="100000"/>
        </a:lnSpc>
        <a:spcBef>
          <a:spcPts val="542"/>
        </a:spcBef>
        <a:buFont typeface="Arial" panose="020B0604020202020204" pitchFamily="34" charset="0"/>
        <a:buNone/>
        <a:defRPr sz="1517" kern="1200">
          <a:solidFill>
            <a:schemeClr val="bg2">
              <a:lumMod val="10000"/>
            </a:schemeClr>
          </a:solidFill>
          <a:latin typeface="Arial" charset="0"/>
          <a:ea typeface="Arial" charset="0"/>
          <a:cs typeface="Arial" charset="0"/>
        </a:defRPr>
      </a:lvl2pPr>
      <a:lvl3pPr marL="194994" indent="-194994" algn="l" defTabSz="990570" rtl="0" eaLnBrk="1" latinLnBrk="0" hangingPunct="1">
        <a:lnSpc>
          <a:spcPct val="100000"/>
        </a:lnSpc>
        <a:spcBef>
          <a:spcPts val="650"/>
        </a:spcBef>
        <a:buFont typeface="Arial" panose="020B0604020202020204" pitchFamily="34" charset="0"/>
        <a:buChar char="•"/>
        <a:defRPr sz="1517" kern="1200" baseline="0">
          <a:solidFill>
            <a:schemeClr val="bg2">
              <a:lumMod val="10000"/>
            </a:schemeClr>
          </a:solidFill>
          <a:latin typeface="Arial" charset="0"/>
          <a:ea typeface="Arial" charset="0"/>
          <a:cs typeface="Arial" charset="0"/>
        </a:defRPr>
      </a:lvl3pPr>
      <a:lvl4pPr marL="389988" indent="-194994" algn="l" defTabSz="990570" rtl="0" eaLnBrk="1" latinLnBrk="0" hangingPunct="1">
        <a:lnSpc>
          <a:spcPct val="100000"/>
        </a:lnSpc>
        <a:spcBef>
          <a:spcPts val="542"/>
        </a:spcBef>
        <a:buFont typeface=".AppleSystemUIFont" charset="-120"/>
        <a:buChar char="-"/>
        <a:defRPr sz="1517" kern="1200" baseline="0">
          <a:solidFill>
            <a:schemeClr val="bg2">
              <a:lumMod val="10000"/>
            </a:schemeClr>
          </a:solidFill>
          <a:latin typeface="Arial" charset="0"/>
          <a:ea typeface="Arial" charset="0"/>
          <a:cs typeface="Arial" charset="0"/>
        </a:defRPr>
      </a:lvl4pPr>
      <a:lvl5pPr marL="584982" indent="-194994" algn="l" defTabSz="990570" rtl="0" eaLnBrk="1" latinLnBrk="0" hangingPunct="1">
        <a:lnSpc>
          <a:spcPct val="100000"/>
        </a:lnSpc>
        <a:spcBef>
          <a:spcPts val="542"/>
        </a:spcBef>
        <a:buFont typeface="Courier New" charset="0"/>
        <a:buChar char="o"/>
        <a:defRPr sz="1517" kern="1200">
          <a:solidFill>
            <a:schemeClr val="bg2">
              <a:lumMod val="10000"/>
            </a:schemeClr>
          </a:solidFill>
          <a:latin typeface="Arial" charset="0"/>
          <a:ea typeface="Arial" charset="0"/>
          <a:cs typeface="Arial" charset="0"/>
        </a:defRPr>
      </a:lvl5pPr>
      <a:lvl6pPr marL="2724066" indent="-247642" algn="l" defTabSz="990570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3219351" indent="-247642" algn="l" defTabSz="990570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714636" indent="-247642" algn="l" defTabSz="990570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4209920" indent="-247642" algn="l" defTabSz="990570" rtl="0" eaLnBrk="1" latinLnBrk="0" hangingPunct="1">
        <a:lnSpc>
          <a:spcPct val="90000"/>
        </a:lnSpc>
        <a:spcBef>
          <a:spcPts val="542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5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70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5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3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24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09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93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78" algn="l" defTabSz="990570" rtl="0" eaLnBrk="1" latinLnBrk="0" hangingPunct="1">
        <a:defRPr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21" userDrawn="1">
          <p15:clr>
            <a:srgbClr val="F26B43"/>
          </p15:clr>
        </p15:guide>
        <p15:guide id="2" pos="1719" userDrawn="1">
          <p15:clr>
            <a:srgbClr val="F26B43"/>
          </p15:clr>
        </p15:guide>
        <p15:guide id="3" pos="1473" userDrawn="1">
          <p15:clr>
            <a:srgbClr val="F26B43"/>
          </p15:clr>
        </p15:guide>
        <p15:guide id="4" pos="3219" userDrawn="1">
          <p15:clr>
            <a:srgbClr val="F26B43"/>
          </p15:clr>
        </p15:guide>
        <p15:guide id="5" pos="2973" userDrawn="1">
          <p15:clr>
            <a:srgbClr val="F26B43"/>
          </p15:clr>
        </p15:guide>
        <p15:guide id="6" pos="5995" userDrawn="1">
          <p15:clr>
            <a:srgbClr val="F26B43"/>
          </p15:clr>
        </p15:guide>
        <p15:guide id="7" orient="horz" pos="232" userDrawn="1">
          <p15:clr>
            <a:srgbClr val="F26B43"/>
          </p15:clr>
        </p15:guide>
        <p15:guide id="8" pos="4742" userDrawn="1">
          <p15:clr>
            <a:srgbClr val="F26B43"/>
          </p15:clr>
        </p15:guide>
        <p15:guide id="9" pos="4471" userDrawn="1">
          <p15:clr>
            <a:srgbClr val="F26B43"/>
          </p15:clr>
        </p15:guide>
        <p15:guide id="10" pos="1965" userDrawn="1">
          <p15:clr>
            <a:srgbClr val="F26B43"/>
          </p15:clr>
        </p15:guide>
        <p15:guide id="11" pos="2211" userDrawn="1">
          <p15:clr>
            <a:srgbClr val="F26B43"/>
          </p15:clr>
        </p15:guide>
        <p15:guide id="12" orient="horz" pos="731" userDrawn="1">
          <p15:clr>
            <a:srgbClr val="F26B43"/>
          </p15:clr>
        </p15:guide>
        <p15:guide id="13" orient="horz" pos="958" userDrawn="1">
          <p15:clr>
            <a:srgbClr val="F26B43"/>
          </p15:clr>
        </p15:guide>
        <p15:guide id="14" orient="horz" pos="4201" userDrawn="1">
          <p15:clr>
            <a:srgbClr val="F26B43"/>
          </p15:clr>
        </p15:guide>
        <p15:guide id="15" orient="horz" pos="3974" userDrawn="1">
          <p15:clr>
            <a:srgbClr val="F26B43"/>
          </p15:clr>
        </p15:guide>
        <p15:guide id="16" orient="horz" pos="3861" userDrawn="1">
          <p15:clr>
            <a:srgbClr val="F26B43"/>
          </p15:clr>
        </p15:guide>
        <p15:guide id="17" orient="horz" pos="2432" userDrawn="1">
          <p15:clr>
            <a:srgbClr val="F26B43"/>
          </p15:clr>
        </p15:guide>
        <p15:guide id="18" orient="horz" pos="16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oup 47">
            <a:extLst>
              <a:ext uri="{FF2B5EF4-FFF2-40B4-BE49-F238E27FC236}">
                <a16:creationId xmlns:a16="http://schemas.microsoft.com/office/drawing/2014/main" id="{A98405F6-530F-4027-BB29-98449CC1B0A3}"/>
              </a:ext>
            </a:extLst>
          </p:cNvPr>
          <p:cNvGrpSpPr/>
          <p:nvPr/>
        </p:nvGrpSpPr>
        <p:grpSpPr>
          <a:xfrm>
            <a:off x="7547415" y="1614026"/>
            <a:ext cx="1980000" cy="3629948"/>
            <a:chOff x="4743994" y="1556640"/>
            <a:chExt cx="1109980" cy="4222714"/>
          </a:xfrm>
          <a:solidFill>
            <a:schemeClr val="tx2"/>
          </a:solidFill>
        </p:grpSpPr>
        <p:sp>
          <p:nvSpPr>
            <p:cNvPr id="52" name="Rectangle 23">
              <a:extLst>
                <a:ext uri="{FF2B5EF4-FFF2-40B4-BE49-F238E27FC236}">
                  <a16:creationId xmlns:a16="http://schemas.microsoft.com/office/drawing/2014/main" id="{458C2CD1-C18E-4BE2-AC88-635DED6B850F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4743994" y="1556640"/>
              <a:ext cx="1109980" cy="730713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Line 24">
              <a:extLst>
                <a:ext uri="{FF2B5EF4-FFF2-40B4-BE49-F238E27FC236}">
                  <a16:creationId xmlns:a16="http://schemas.microsoft.com/office/drawing/2014/main" id="{8CDB5CBD-51E5-42E3-8270-E4239C0A95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53974" y="2287354"/>
              <a:ext cx="0" cy="349200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884CF9B-48EC-4FD5-A36B-AB2E98EC9425}"/>
              </a:ext>
            </a:extLst>
          </p:cNvPr>
          <p:cNvGrpSpPr/>
          <p:nvPr/>
        </p:nvGrpSpPr>
        <p:grpSpPr>
          <a:xfrm>
            <a:off x="5133219" y="1614026"/>
            <a:ext cx="1980000" cy="3629947"/>
            <a:chOff x="3392538" y="1543321"/>
            <a:chExt cx="1109980" cy="4212126"/>
          </a:xfrm>
          <a:solidFill>
            <a:schemeClr val="tx2"/>
          </a:solidFill>
        </p:grpSpPr>
        <p:sp>
          <p:nvSpPr>
            <p:cNvPr id="58" name="Rectangle 15">
              <a:extLst>
                <a:ext uri="{FF2B5EF4-FFF2-40B4-BE49-F238E27FC236}">
                  <a16:creationId xmlns:a16="http://schemas.microsoft.com/office/drawing/2014/main" id="{93FB045D-D04D-423B-A1C1-2DBCF38ED796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3392538" y="1543321"/>
              <a:ext cx="1109980" cy="720125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Line 16">
              <a:extLst>
                <a:ext uri="{FF2B5EF4-FFF2-40B4-BE49-F238E27FC236}">
                  <a16:creationId xmlns:a16="http://schemas.microsoft.com/office/drawing/2014/main" id="{A37170DB-BF85-47D2-AD31-825D4217E8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502518" y="2263447"/>
              <a:ext cx="0" cy="349200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60E5C3-444E-474B-AD23-508B51AA7D4A}"/>
              </a:ext>
            </a:extLst>
          </p:cNvPr>
          <p:cNvGrpSpPr/>
          <p:nvPr/>
        </p:nvGrpSpPr>
        <p:grpSpPr>
          <a:xfrm>
            <a:off x="2757122" y="1614027"/>
            <a:ext cx="1980000" cy="3627913"/>
            <a:chOff x="434699" y="1542833"/>
            <a:chExt cx="1109980" cy="4212612"/>
          </a:xfrm>
          <a:solidFill>
            <a:schemeClr val="tx2"/>
          </a:solidFill>
        </p:grpSpPr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A22FDB1E-197A-4574-BC96-02CB2FD19C3A}"/>
                </a:ext>
              </a:extLst>
            </p:cNvPr>
            <p:cNvSpPr>
              <a:spLocks noChangeArrowheads="1"/>
            </p:cNvSpPr>
            <p:nvPr/>
          </p:nvSpPr>
          <p:spPr bwMode="auto">
            <a:xfrm flipV="1">
              <a:off x="434699" y="1542833"/>
              <a:ext cx="1109980" cy="720612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E426A457-2600-487A-B617-43EFE7B72F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44679" y="2263445"/>
              <a:ext cx="0" cy="349200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F60D059-CF68-424C-B6CC-A9325508C221}"/>
              </a:ext>
            </a:extLst>
          </p:cNvPr>
          <p:cNvGrpSpPr/>
          <p:nvPr/>
        </p:nvGrpSpPr>
        <p:grpSpPr>
          <a:xfrm>
            <a:off x="361975" y="1614026"/>
            <a:ext cx="1980000" cy="4828438"/>
            <a:chOff x="434699" y="1788608"/>
            <a:chExt cx="1109980" cy="4007018"/>
          </a:xfrm>
          <a:solidFill>
            <a:schemeClr val="tx2"/>
          </a:solidFill>
        </p:grpSpPr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E381BEF7-2D1E-4F70-BF0D-1B801B0F9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99" y="1788608"/>
              <a:ext cx="1109980" cy="52128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id="{FE106542-E2DD-4D44-913E-2E1AFADD0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44679" y="2303626"/>
              <a:ext cx="0" cy="3492000"/>
            </a:xfrm>
            <a:prstGeom prst="line">
              <a:avLst/>
            </a:prstGeom>
            <a:grpFill/>
            <a:ln w="19050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F03CCA-9A88-4717-808F-4053210CDA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F03CCA-9A88-4717-808F-4053210CDA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18EC0B-E81B-4BD6-BBD9-8CB1FB1F4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383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5" name="Rectangle 28">
            <a:extLst>
              <a:ext uri="{FF2B5EF4-FFF2-40B4-BE49-F238E27FC236}">
                <a16:creationId xmlns:a16="http://schemas.microsoft.com/office/drawing/2014/main" id="{79CAB2E9-5F04-4F24-924F-B87CC2A9C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22406" y="1732369"/>
            <a:ext cx="1260000" cy="4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300" b="1">
                <a:solidFill>
                  <a:schemeClr val="bg1"/>
                </a:solidFill>
              </a:rPr>
              <a:t>CONFIRM</a:t>
            </a:r>
            <a:br>
              <a:rPr lang="en-AU" sz="1300" b="1">
                <a:solidFill>
                  <a:schemeClr val="bg1"/>
                </a:solidFill>
              </a:rPr>
            </a:br>
            <a:r>
              <a:rPr lang="en-AU" sz="1300" b="1">
                <a:solidFill>
                  <a:schemeClr val="bg1"/>
                </a:solidFill>
              </a:rPr>
              <a:t>YOUR PLACE</a:t>
            </a:r>
          </a:p>
          <a:p>
            <a:pPr defTabSz="914243"/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49" name="Rectangle 32">
            <a:extLst>
              <a:ext uri="{FF2B5EF4-FFF2-40B4-BE49-F238E27FC236}">
                <a16:creationId xmlns:a16="http://schemas.microsoft.com/office/drawing/2014/main" id="{D12495C2-3C38-4FFB-8BEE-C84ADF251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24376" y="1732369"/>
            <a:ext cx="1260000" cy="39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300" b="1">
                <a:solidFill>
                  <a:schemeClr val="bg1"/>
                </a:solidFill>
              </a:rPr>
              <a:t>ENROL WITH</a:t>
            </a:r>
            <a:br>
              <a:rPr lang="en-AU" sz="1300" b="1">
                <a:solidFill>
                  <a:schemeClr val="bg1"/>
                </a:solidFill>
              </a:rPr>
            </a:br>
            <a:r>
              <a:rPr lang="en-AU" sz="1300" b="1">
                <a:solidFill>
                  <a:schemeClr val="bg1"/>
                </a:solidFill>
              </a:rPr>
              <a:t>YOUR KINDER</a:t>
            </a:r>
          </a:p>
          <a:p>
            <a:pPr defTabSz="914243"/>
            <a:endParaRPr lang="en-US" altLang="en-US" sz="1300" b="1">
              <a:solidFill>
                <a:schemeClr val="bg1"/>
              </a:solidFill>
            </a:endParaRPr>
          </a:p>
        </p:txBody>
      </p:sp>
      <p:sp>
        <p:nvSpPr>
          <p:cNvPr id="21" name="Rectangle 27">
            <a:extLst>
              <a:ext uri="{FF2B5EF4-FFF2-40B4-BE49-F238E27FC236}">
                <a16:creationId xmlns:a16="http://schemas.microsoft.com/office/drawing/2014/main" id="{DF657BC5-C17A-4AE5-815B-F174BCEAE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55398" y="1732369"/>
            <a:ext cx="1260000" cy="39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300" b="1">
                <a:solidFill>
                  <a:schemeClr val="bg1"/>
                </a:solidFill>
              </a:rPr>
              <a:t>REGISTER</a:t>
            </a:r>
            <a:br>
              <a:rPr lang="en-AU" sz="1300" b="1">
                <a:solidFill>
                  <a:schemeClr val="bg1"/>
                </a:solidFill>
              </a:rPr>
            </a:br>
            <a:r>
              <a:rPr lang="en-AU" sz="1300" b="1">
                <a:solidFill>
                  <a:schemeClr val="bg1"/>
                </a:solidFill>
              </a:rPr>
              <a:t>FOR KINDER</a:t>
            </a:r>
          </a:p>
        </p:txBody>
      </p:sp>
      <p:sp>
        <p:nvSpPr>
          <p:cNvPr id="12" name="Rectangle 31">
            <a:extLst>
              <a:ext uri="{FF2B5EF4-FFF2-40B4-BE49-F238E27FC236}">
                <a16:creationId xmlns:a16="http://schemas.microsoft.com/office/drawing/2014/main" id="{D259CC22-7EC3-4FBC-8B5A-49076FD8C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41715" y="1732369"/>
            <a:ext cx="1260000" cy="4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300" b="1">
                <a:solidFill>
                  <a:schemeClr val="bg1"/>
                </a:solidFill>
              </a:rPr>
              <a:t>WAIT FOR</a:t>
            </a:r>
            <a:br>
              <a:rPr lang="en-AU" sz="1300" b="1">
                <a:solidFill>
                  <a:schemeClr val="bg1"/>
                </a:solidFill>
              </a:rPr>
            </a:br>
            <a:r>
              <a:rPr lang="en-AU" sz="1300" b="1">
                <a:solidFill>
                  <a:schemeClr val="bg1"/>
                </a:solidFill>
              </a:rPr>
              <a:t>YOUR OFFER</a:t>
            </a:r>
          </a:p>
          <a:p>
            <a:pPr defTabSz="914243"/>
            <a:endParaRPr lang="en-US" altLang="en-US" sz="1300" b="1">
              <a:solidFill>
                <a:schemeClr val="bg1"/>
              </a:solidFill>
            </a:endParaRPr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19C8EE4-AC30-45BD-A672-5B175823A68F}"/>
              </a:ext>
            </a:extLst>
          </p:cNvPr>
          <p:cNvGrpSpPr>
            <a:grpSpLocks noChangeAspect="1"/>
          </p:cNvGrpSpPr>
          <p:nvPr/>
        </p:nvGrpSpPr>
        <p:grpSpPr>
          <a:xfrm>
            <a:off x="2834128" y="1725909"/>
            <a:ext cx="484761" cy="409858"/>
            <a:chOff x="766763" y="1122363"/>
            <a:chExt cx="542925" cy="490538"/>
          </a:xfrm>
          <a:solidFill>
            <a:schemeClr val="bg1"/>
          </a:solidFill>
        </p:grpSpPr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48D32796-1B27-4F56-A426-D45BA0528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282701"/>
              <a:ext cx="319088" cy="15875"/>
            </a:xfrm>
            <a:custGeom>
              <a:avLst/>
              <a:gdLst>
                <a:gd name="T0" fmla="*/ 5 w 100"/>
                <a:gd name="T1" fmla="*/ 5 h 5"/>
                <a:gd name="T2" fmla="*/ 95 w 100"/>
                <a:gd name="T3" fmla="*/ 5 h 5"/>
                <a:gd name="T4" fmla="*/ 100 w 100"/>
                <a:gd name="T5" fmla="*/ 3 h 5"/>
                <a:gd name="T6" fmla="*/ 95 w 100"/>
                <a:gd name="T7" fmla="*/ 0 h 5"/>
                <a:gd name="T8" fmla="*/ 5 w 100"/>
                <a:gd name="T9" fmla="*/ 0 h 5"/>
                <a:gd name="T10" fmla="*/ 0 w 100"/>
                <a:gd name="T11" fmla="*/ 3 h 5"/>
                <a:gd name="T12" fmla="*/ 5 w 10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5" y="5"/>
                  </a:move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4"/>
                    <a:pt x="3" y="5"/>
                    <a:pt x="5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19F39CFB-1A1F-42DB-A66C-4F821A183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349376"/>
              <a:ext cx="319088" cy="17463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2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2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ubicBezTo>
                    <a:pt x="0" y="4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2"/>
                  </a:cubicBezTo>
                  <a:cubicBezTo>
                    <a:pt x="100" y="0"/>
                    <a:pt x="98" y="0"/>
                    <a:pt x="9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2A46B459-E65B-4C33-A26D-17B273837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414463"/>
              <a:ext cx="319088" cy="15875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3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3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5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5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2CDC1370-EC3F-457F-94EC-759B11F5E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763" y="1122363"/>
              <a:ext cx="542925" cy="490538"/>
            </a:xfrm>
            <a:custGeom>
              <a:avLst/>
              <a:gdLst>
                <a:gd name="T0" fmla="*/ 85 w 170"/>
                <a:gd name="T1" fmla="*/ 0 h 153"/>
                <a:gd name="T2" fmla="*/ 0 w 170"/>
                <a:gd name="T3" fmla="*/ 69 h 153"/>
                <a:gd name="T4" fmla="*/ 24 w 170"/>
                <a:gd name="T5" fmla="*/ 117 h 153"/>
                <a:gd name="T6" fmla="*/ 24 w 170"/>
                <a:gd name="T7" fmla="*/ 117 h 153"/>
                <a:gd name="T8" fmla="*/ 15 w 170"/>
                <a:gd name="T9" fmla="*/ 153 h 153"/>
                <a:gd name="T10" fmla="*/ 61 w 170"/>
                <a:gd name="T11" fmla="*/ 135 h 153"/>
                <a:gd name="T12" fmla="*/ 62 w 170"/>
                <a:gd name="T13" fmla="*/ 135 h 153"/>
                <a:gd name="T14" fmla="*/ 85 w 170"/>
                <a:gd name="T15" fmla="*/ 138 h 153"/>
                <a:gd name="T16" fmla="*/ 170 w 170"/>
                <a:gd name="T17" fmla="*/ 69 h 153"/>
                <a:gd name="T18" fmla="*/ 85 w 170"/>
                <a:gd name="T19" fmla="*/ 0 h 153"/>
                <a:gd name="T20" fmla="*/ 85 w 170"/>
                <a:gd name="T21" fmla="*/ 131 h 153"/>
                <a:gd name="T22" fmla="*/ 62 w 170"/>
                <a:gd name="T23" fmla="*/ 128 h 153"/>
                <a:gd name="T24" fmla="*/ 58 w 170"/>
                <a:gd name="T25" fmla="*/ 129 h 153"/>
                <a:gd name="T26" fmla="*/ 25 w 170"/>
                <a:gd name="T27" fmla="*/ 142 h 153"/>
                <a:gd name="T28" fmla="*/ 31 w 170"/>
                <a:gd name="T29" fmla="*/ 119 h 153"/>
                <a:gd name="T30" fmla="*/ 28 w 170"/>
                <a:gd name="T31" fmla="*/ 112 h 153"/>
                <a:gd name="T32" fmla="*/ 6 w 170"/>
                <a:gd name="T33" fmla="*/ 69 h 153"/>
                <a:gd name="T34" fmla="*/ 85 w 170"/>
                <a:gd name="T35" fmla="*/ 7 h 153"/>
                <a:gd name="T36" fmla="*/ 163 w 170"/>
                <a:gd name="T37" fmla="*/ 69 h 153"/>
                <a:gd name="T38" fmla="*/ 85 w 170"/>
                <a:gd name="T39" fmla="*/ 13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0" h="153">
                  <a:moveTo>
                    <a:pt x="85" y="0"/>
                  </a:moveTo>
                  <a:cubicBezTo>
                    <a:pt x="38" y="0"/>
                    <a:pt x="0" y="31"/>
                    <a:pt x="0" y="69"/>
                  </a:cubicBezTo>
                  <a:cubicBezTo>
                    <a:pt x="0" y="87"/>
                    <a:pt x="8" y="104"/>
                    <a:pt x="24" y="117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5" y="153"/>
                    <a:pt x="15" y="153"/>
                    <a:pt x="15" y="153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2" y="135"/>
                    <a:pt x="62" y="135"/>
                    <a:pt x="62" y="135"/>
                  </a:cubicBezTo>
                  <a:cubicBezTo>
                    <a:pt x="69" y="137"/>
                    <a:pt x="77" y="138"/>
                    <a:pt x="85" y="138"/>
                  </a:cubicBezTo>
                  <a:cubicBezTo>
                    <a:pt x="132" y="138"/>
                    <a:pt x="170" y="107"/>
                    <a:pt x="170" y="69"/>
                  </a:cubicBezTo>
                  <a:cubicBezTo>
                    <a:pt x="170" y="31"/>
                    <a:pt x="132" y="0"/>
                    <a:pt x="85" y="0"/>
                  </a:cubicBezTo>
                  <a:close/>
                  <a:moveTo>
                    <a:pt x="85" y="131"/>
                  </a:moveTo>
                  <a:cubicBezTo>
                    <a:pt x="78" y="131"/>
                    <a:pt x="70" y="130"/>
                    <a:pt x="62" y="128"/>
                  </a:cubicBezTo>
                  <a:cubicBezTo>
                    <a:pt x="62" y="128"/>
                    <a:pt x="60" y="128"/>
                    <a:pt x="58" y="129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2" y="116"/>
                    <a:pt x="31" y="114"/>
                    <a:pt x="28" y="112"/>
                  </a:cubicBezTo>
                  <a:cubicBezTo>
                    <a:pt x="14" y="100"/>
                    <a:pt x="6" y="85"/>
                    <a:pt x="6" y="69"/>
                  </a:cubicBezTo>
                  <a:cubicBezTo>
                    <a:pt x="6" y="35"/>
                    <a:pt x="42" y="7"/>
                    <a:pt x="85" y="7"/>
                  </a:cubicBezTo>
                  <a:cubicBezTo>
                    <a:pt x="129" y="7"/>
                    <a:pt x="163" y="35"/>
                    <a:pt x="163" y="69"/>
                  </a:cubicBezTo>
                  <a:cubicBezTo>
                    <a:pt x="163" y="104"/>
                    <a:pt x="129" y="131"/>
                    <a:pt x="85" y="1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934AC76-F0D1-4610-A6C0-608C4C7650A6}"/>
              </a:ext>
            </a:extLst>
          </p:cNvPr>
          <p:cNvGrpSpPr>
            <a:grpSpLocks noChangeAspect="1"/>
          </p:cNvGrpSpPr>
          <p:nvPr/>
        </p:nvGrpSpPr>
        <p:grpSpPr>
          <a:xfrm>
            <a:off x="462810" y="1725909"/>
            <a:ext cx="354257" cy="409858"/>
            <a:chOff x="3151063" y="1100138"/>
            <a:chExt cx="436564" cy="539750"/>
          </a:xfrm>
          <a:solidFill>
            <a:schemeClr val="bg1"/>
          </a:solidFill>
        </p:grpSpPr>
        <p:sp>
          <p:nvSpPr>
            <p:cNvPr id="66" name="Freeform 25">
              <a:extLst>
                <a:ext uri="{FF2B5EF4-FFF2-40B4-BE49-F238E27FC236}">
                  <a16:creationId xmlns:a16="http://schemas.microsoft.com/office/drawing/2014/main" id="{62A4AB9E-F6F1-4402-B35E-92DE6FD613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7" name="Freeform 26">
              <a:extLst>
                <a:ext uri="{FF2B5EF4-FFF2-40B4-BE49-F238E27FC236}">
                  <a16:creationId xmlns:a16="http://schemas.microsoft.com/office/drawing/2014/main" id="{13DB6E63-C65C-47E0-BEEB-605D5E234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8" name="Freeform 27">
              <a:extLst>
                <a:ext uri="{FF2B5EF4-FFF2-40B4-BE49-F238E27FC236}">
                  <a16:creationId xmlns:a16="http://schemas.microsoft.com/office/drawing/2014/main" id="{012B9BE6-9142-4F62-B3E4-0A1EA57DE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9" name="Freeform 28">
              <a:extLst>
                <a:ext uri="{FF2B5EF4-FFF2-40B4-BE49-F238E27FC236}">
                  <a16:creationId xmlns:a16="http://schemas.microsoft.com/office/drawing/2014/main" id="{38E29277-ED97-4F3B-A49E-47BE9ECF2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0" name="Freeform 29">
              <a:extLst>
                <a:ext uri="{FF2B5EF4-FFF2-40B4-BE49-F238E27FC236}">
                  <a16:creationId xmlns:a16="http://schemas.microsoft.com/office/drawing/2014/main" id="{D7F82A48-FF9A-4067-BC9C-E9C65A03A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71" name="Freeform 23">
            <a:extLst>
              <a:ext uri="{FF2B5EF4-FFF2-40B4-BE49-F238E27FC236}">
                <a16:creationId xmlns:a16="http://schemas.microsoft.com/office/drawing/2014/main" id="{4ABD2649-4A17-4EBB-96DA-F1E2E087AB9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90156" y="1725909"/>
            <a:ext cx="436706" cy="409858"/>
          </a:xfrm>
          <a:custGeom>
            <a:avLst/>
            <a:gdLst>
              <a:gd name="T0" fmla="*/ 163 w 170"/>
              <a:gd name="T1" fmla="*/ 52 h 170"/>
              <a:gd name="T2" fmla="*/ 158 w 170"/>
              <a:gd name="T3" fmla="*/ 52 h 170"/>
              <a:gd name="T4" fmla="*/ 157 w 170"/>
              <a:gd name="T5" fmla="*/ 56 h 170"/>
              <a:gd name="T6" fmla="*/ 157 w 170"/>
              <a:gd name="T7" fmla="*/ 56 h 170"/>
              <a:gd name="T8" fmla="*/ 162 w 170"/>
              <a:gd name="T9" fmla="*/ 85 h 170"/>
              <a:gd name="T10" fmla="*/ 85 w 170"/>
              <a:gd name="T11" fmla="*/ 162 h 170"/>
              <a:gd name="T12" fmla="*/ 8 w 170"/>
              <a:gd name="T13" fmla="*/ 85 h 170"/>
              <a:gd name="T14" fmla="*/ 85 w 170"/>
              <a:gd name="T15" fmla="*/ 7 h 170"/>
              <a:gd name="T16" fmla="*/ 141 w 170"/>
              <a:gd name="T17" fmla="*/ 31 h 170"/>
              <a:gd name="T18" fmla="*/ 141 w 170"/>
              <a:gd name="T19" fmla="*/ 31 h 170"/>
              <a:gd name="T20" fmla="*/ 146 w 170"/>
              <a:gd name="T21" fmla="*/ 31 h 170"/>
              <a:gd name="T22" fmla="*/ 146 w 170"/>
              <a:gd name="T23" fmla="*/ 25 h 170"/>
              <a:gd name="T24" fmla="*/ 145 w 170"/>
              <a:gd name="T25" fmla="*/ 25 h 170"/>
              <a:gd name="T26" fmla="*/ 85 w 170"/>
              <a:gd name="T27" fmla="*/ 0 h 170"/>
              <a:gd name="T28" fmla="*/ 0 w 170"/>
              <a:gd name="T29" fmla="*/ 85 h 170"/>
              <a:gd name="T30" fmla="*/ 85 w 170"/>
              <a:gd name="T31" fmla="*/ 170 h 170"/>
              <a:gd name="T32" fmla="*/ 170 w 170"/>
              <a:gd name="T33" fmla="*/ 85 h 170"/>
              <a:gd name="T34" fmla="*/ 164 w 170"/>
              <a:gd name="T35" fmla="*/ 54 h 170"/>
              <a:gd name="T36" fmla="*/ 163 w 170"/>
              <a:gd name="T37" fmla="*/ 52 h 170"/>
              <a:gd name="T38" fmla="*/ 85 w 170"/>
              <a:gd name="T39" fmla="*/ 106 h 170"/>
              <a:gd name="T40" fmla="*/ 49 w 170"/>
              <a:gd name="T41" fmla="*/ 70 h 170"/>
              <a:gd name="T42" fmla="*/ 46 w 170"/>
              <a:gd name="T43" fmla="*/ 69 h 170"/>
              <a:gd name="T44" fmla="*/ 42 w 170"/>
              <a:gd name="T45" fmla="*/ 73 h 170"/>
              <a:gd name="T46" fmla="*/ 44 w 170"/>
              <a:gd name="T47" fmla="*/ 76 h 170"/>
              <a:gd name="T48" fmla="*/ 82 w 170"/>
              <a:gd name="T49" fmla="*/ 115 h 170"/>
              <a:gd name="T50" fmla="*/ 85 w 170"/>
              <a:gd name="T51" fmla="*/ 116 h 170"/>
              <a:gd name="T52" fmla="*/ 88 w 170"/>
              <a:gd name="T53" fmla="*/ 114 h 170"/>
              <a:gd name="T54" fmla="*/ 88 w 170"/>
              <a:gd name="T55" fmla="*/ 115 h 170"/>
              <a:gd name="T56" fmla="*/ 152 w 170"/>
              <a:gd name="T57" fmla="*/ 47 h 170"/>
              <a:gd name="T58" fmla="*/ 152 w 170"/>
              <a:gd name="T59" fmla="*/ 47 h 170"/>
              <a:gd name="T60" fmla="*/ 158 w 170"/>
              <a:gd name="T61" fmla="*/ 41 h 170"/>
              <a:gd name="T62" fmla="*/ 158 w 170"/>
              <a:gd name="T63" fmla="*/ 41 h 170"/>
              <a:gd name="T64" fmla="*/ 169 w 170"/>
              <a:gd name="T65" fmla="*/ 29 h 170"/>
              <a:gd name="T66" fmla="*/ 169 w 170"/>
              <a:gd name="T67" fmla="*/ 29 h 170"/>
              <a:gd name="T68" fmla="*/ 170 w 170"/>
              <a:gd name="T69" fmla="*/ 27 h 170"/>
              <a:gd name="T70" fmla="*/ 166 w 170"/>
              <a:gd name="T71" fmla="*/ 23 h 170"/>
              <a:gd name="T72" fmla="*/ 163 w 170"/>
              <a:gd name="T73" fmla="*/ 24 h 170"/>
              <a:gd name="T74" fmla="*/ 163 w 170"/>
              <a:gd name="T75" fmla="*/ 24 h 170"/>
              <a:gd name="T76" fmla="*/ 153 w 170"/>
              <a:gd name="T77" fmla="*/ 35 h 170"/>
              <a:gd name="T78" fmla="*/ 153 w 170"/>
              <a:gd name="T79" fmla="*/ 35 h 170"/>
              <a:gd name="T80" fmla="*/ 148 w 170"/>
              <a:gd name="T81" fmla="*/ 40 h 170"/>
              <a:gd name="T82" fmla="*/ 148 w 170"/>
              <a:gd name="T83" fmla="*/ 40 h 170"/>
              <a:gd name="T84" fmla="*/ 85 w 170"/>
              <a:gd name="T85" fmla="*/ 10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0" h="170">
                <a:moveTo>
                  <a:pt x="163" y="52"/>
                </a:moveTo>
                <a:cubicBezTo>
                  <a:pt x="162" y="51"/>
                  <a:pt x="159" y="51"/>
                  <a:pt x="158" y="52"/>
                </a:cubicBezTo>
                <a:cubicBezTo>
                  <a:pt x="157" y="53"/>
                  <a:pt x="156" y="55"/>
                  <a:pt x="157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60" y="65"/>
                  <a:pt x="162" y="75"/>
                  <a:pt x="162" y="85"/>
                </a:cubicBezTo>
                <a:cubicBezTo>
                  <a:pt x="162" y="127"/>
                  <a:pt x="128" y="162"/>
                  <a:pt x="85" y="162"/>
                </a:cubicBezTo>
                <a:cubicBezTo>
                  <a:pt x="42" y="162"/>
                  <a:pt x="8" y="127"/>
                  <a:pt x="8" y="85"/>
                </a:cubicBezTo>
                <a:cubicBezTo>
                  <a:pt x="8" y="42"/>
                  <a:pt x="42" y="7"/>
                  <a:pt x="85" y="7"/>
                </a:cubicBezTo>
                <a:cubicBezTo>
                  <a:pt x="107" y="7"/>
                  <a:pt x="127" y="17"/>
                  <a:pt x="141" y="31"/>
                </a:cubicBezTo>
                <a:cubicBezTo>
                  <a:pt x="141" y="31"/>
                  <a:pt x="141" y="31"/>
                  <a:pt x="141" y="31"/>
                </a:cubicBezTo>
                <a:cubicBezTo>
                  <a:pt x="142" y="32"/>
                  <a:pt x="145" y="32"/>
                  <a:pt x="146" y="31"/>
                </a:cubicBezTo>
                <a:cubicBezTo>
                  <a:pt x="147" y="29"/>
                  <a:pt x="147" y="27"/>
                  <a:pt x="146" y="25"/>
                </a:cubicBezTo>
                <a:cubicBezTo>
                  <a:pt x="146" y="25"/>
                  <a:pt x="146" y="25"/>
                  <a:pt x="145" y="25"/>
                </a:cubicBezTo>
                <a:cubicBezTo>
                  <a:pt x="130" y="10"/>
                  <a:pt x="109" y="0"/>
                  <a:pt x="85" y="0"/>
                </a:cubicBezTo>
                <a:cubicBezTo>
                  <a:pt x="38" y="0"/>
                  <a:pt x="0" y="38"/>
                  <a:pt x="0" y="85"/>
                </a:cubicBezTo>
                <a:cubicBezTo>
                  <a:pt x="0" y="132"/>
                  <a:pt x="38" y="170"/>
                  <a:pt x="85" y="170"/>
                </a:cubicBezTo>
                <a:cubicBezTo>
                  <a:pt x="132" y="170"/>
                  <a:pt x="170" y="132"/>
                  <a:pt x="170" y="85"/>
                </a:cubicBezTo>
                <a:cubicBezTo>
                  <a:pt x="170" y="74"/>
                  <a:pt x="168" y="63"/>
                  <a:pt x="164" y="54"/>
                </a:cubicBezTo>
                <a:cubicBezTo>
                  <a:pt x="164" y="53"/>
                  <a:pt x="164" y="53"/>
                  <a:pt x="163" y="52"/>
                </a:cubicBezTo>
                <a:moveTo>
                  <a:pt x="85" y="106"/>
                </a:moveTo>
                <a:cubicBezTo>
                  <a:pt x="49" y="70"/>
                  <a:pt x="49" y="70"/>
                  <a:pt x="49" y="70"/>
                </a:cubicBezTo>
                <a:cubicBezTo>
                  <a:pt x="48" y="70"/>
                  <a:pt x="47" y="69"/>
                  <a:pt x="46" y="69"/>
                </a:cubicBezTo>
                <a:cubicBezTo>
                  <a:pt x="44" y="69"/>
                  <a:pt x="42" y="71"/>
                  <a:pt x="42" y="73"/>
                </a:cubicBezTo>
                <a:cubicBezTo>
                  <a:pt x="42" y="74"/>
                  <a:pt x="43" y="75"/>
                  <a:pt x="44" y="76"/>
                </a:cubicBezTo>
                <a:cubicBezTo>
                  <a:pt x="82" y="115"/>
                  <a:pt x="82" y="115"/>
                  <a:pt x="82" y="115"/>
                </a:cubicBezTo>
                <a:cubicBezTo>
                  <a:pt x="83" y="115"/>
                  <a:pt x="84" y="116"/>
                  <a:pt x="85" y="116"/>
                </a:cubicBezTo>
                <a:cubicBezTo>
                  <a:pt x="86" y="116"/>
                  <a:pt x="87" y="115"/>
                  <a:pt x="88" y="114"/>
                </a:cubicBezTo>
                <a:cubicBezTo>
                  <a:pt x="88" y="115"/>
                  <a:pt x="88" y="115"/>
                  <a:pt x="88" y="115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58" y="41"/>
                  <a:pt x="158" y="41"/>
                  <a:pt x="158" y="41"/>
                </a:cubicBezTo>
                <a:cubicBezTo>
                  <a:pt x="158" y="41"/>
                  <a:pt x="158" y="41"/>
                  <a:pt x="158" y="41"/>
                </a:cubicBezTo>
                <a:cubicBezTo>
                  <a:pt x="169" y="29"/>
                  <a:pt x="169" y="29"/>
                  <a:pt x="169" y="29"/>
                </a:cubicBezTo>
                <a:cubicBezTo>
                  <a:pt x="169" y="29"/>
                  <a:pt x="169" y="29"/>
                  <a:pt x="169" y="29"/>
                </a:cubicBezTo>
                <a:cubicBezTo>
                  <a:pt x="170" y="29"/>
                  <a:pt x="170" y="28"/>
                  <a:pt x="170" y="27"/>
                </a:cubicBezTo>
                <a:cubicBezTo>
                  <a:pt x="170" y="25"/>
                  <a:pt x="168" y="23"/>
                  <a:pt x="166" y="23"/>
                </a:cubicBezTo>
                <a:cubicBezTo>
                  <a:pt x="165" y="23"/>
                  <a:pt x="164" y="23"/>
                  <a:pt x="163" y="24"/>
                </a:cubicBezTo>
                <a:cubicBezTo>
                  <a:pt x="163" y="24"/>
                  <a:pt x="163" y="24"/>
                  <a:pt x="163" y="24"/>
                </a:cubicBezTo>
                <a:cubicBezTo>
                  <a:pt x="153" y="35"/>
                  <a:pt x="153" y="35"/>
                  <a:pt x="153" y="35"/>
                </a:cubicBezTo>
                <a:cubicBezTo>
                  <a:pt x="153" y="35"/>
                  <a:pt x="153" y="35"/>
                  <a:pt x="153" y="35"/>
                </a:cubicBezTo>
                <a:cubicBezTo>
                  <a:pt x="148" y="40"/>
                  <a:pt x="148" y="40"/>
                  <a:pt x="148" y="40"/>
                </a:cubicBezTo>
                <a:cubicBezTo>
                  <a:pt x="148" y="40"/>
                  <a:pt x="148" y="40"/>
                  <a:pt x="148" y="40"/>
                </a:cubicBezTo>
                <a:cubicBezTo>
                  <a:pt x="85" y="106"/>
                  <a:pt x="85" y="106"/>
                  <a:pt x="85" y="106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72" name="Freeform 39">
            <a:extLst>
              <a:ext uri="{FF2B5EF4-FFF2-40B4-BE49-F238E27FC236}">
                <a16:creationId xmlns:a16="http://schemas.microsoft.com/office/drawing/2014/main" id="{AE455750-0ED5-431D-8021-BD044D0F8F3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600824" y="1725909"/>
            <a:ext cx="457657" cy="409858"/>
          </a:xfrm>
          <a:custGeom>
            <a:avLst/>
            <a:gdLst>
              <a:gd name="T0" fmla="*/ 155 w 170"/>
              <a:gd name="T1" fmla="*/ 40 h 163"/>
              <a:gd name="T2" fmla="*/ 166 w 170"/>
              <a:gd name="T3" fmla="*/ 45 h 163"/>
              <a:gd name="T4" fmla="*/ 169 w 170"/>
              <a:gd name="T5" fmla="*/ 45 h 163"/>
              <a:gd name="T6" fmla="*/ 170 w 170"/>
              <a:gd name="T7" fmla="*/ 15 h 163"/>
              <a:gd name="T8" fmla="*/ 152 w 170"/>
              <a:gd name="T9" fmla="*/ 6 h 163"/>
              <a:gd name="T10" fmla="*/ 134 w 170"/>
              <a:gd name="T11" fmla="*/ 3 h 163"/>
              <a:gd name="T12" fmla="*/ 128 w 170"/>
              <a:gd name="T13" fmla="*/ 0 h 163"/>
              <a:gd name="T14" fmla="*/ 121 w 170"/>
              <a:gd name="T15" fmla="*/ 33 h 163"/>
              <a:gd name="T16" fmla="*/ 82 w 170"/>
              <a:gd name="T17" fmla="*/ 0 h 163"/>
              <a:gd name="T18" fmla="*/ 0 w 170"/>
              <a:gd name="T19" fmla="*/ 81 h 163"/>
              <a:gd name="T20" fmla="*/ 5 w 170"/>
              <a:gd name="T21" fmla="*/ 84 h 163"/>
              <a:gd name="T22" fmla="*/ 23 w 170"/>
              <a:gd name="T23" fmla="*/ 160 h 163"/>
              <a:gd name="T24" fmla="*/ 142 w 170"/>
              <a:gd name="T25" fmla="*/ 163 h 163"/>
              <a:gd name="T26" fmla="*/ 145 w 170"/>
              <a:gd name="T27" fmla="*/ 66 h 163"/>
              <a:gd name="T28" fmla="*/ 166 w 170"/>
              <a:gd name="T29" fmla="*/ 84 h 163"/>
              <a:gd name="T30" fmla="*/ 169 w 170"/>
              <a:gd name="T31" fmla="*/ 80 h 163"/>
              <a:gd name="T32" fmla="*/ 135 w 170"/>
              <a:gd name="T33" fmla="*/ 38 h 163"/>
              <a:gd name="T34" fmla="*/ 101 w 170"/>
              <a:gd name="T35" fmla="*/ 157 h 163"/>
              <a:gd name="T36" fmla="*/ 68 w 170"/>
              <a:gd name="T37" fmla="*/ 95 h 163"/>
              <a:gd name="T38" fmla="*/ 101 w 170"/>
              <a:gd name="T39" fmla="*/ 157 h 163"/>
              <a:gd name="T40" fmla="*/ 106 w 170"/>
              <a:gd name="T41" fmla="*/ 157 h 163"/>
              <a:gd name="T42" fmla="*/ 103 w 170"/>
              <a:gd name="T43" fmla="*/ 89 h 163"/>
              <a:gd name="T44" fmla="*/ 62 w 170"/>
              <a:gd name="T45" fmla="*/ 92 h 163"/>
              <a:gd name="T46" fmla="*/ 29 w 170"/>
              <a:gd name="T47" fmla="*/ 157 h 163"/>
              <a:gd name="T48" fmla="*/ 85 w 170"/>
              <a:gd name="T49" fmla="*/ 7 h 163"/>
              <a:gd name="T50" fmla="*/ 139 w 170"/>
              <a:gd name="T51" fmla="*/ 157 h 163"/>
              <a:gd name="T52" fmla="*/ 126 w 170"/>
              <a:gd name="T53" fmla="*/ 7 h 163"/>
              <a:gd name="T54" fmla="*/ 130 w 170"/>
              <a:gd name="T55" fmla="*/ 6 h 163"/>
              <a:gd name="T56" fmla="*/ 135 w 170"/>
              <a:gd name="T57" fmla="*/ 10 h 163"/>
              <a:gd name="T58" fmla="*/ 152 w 170"/>
              <a:gd name="T59" fmla="*/ 12 h 163"/>
              <a:gd name="T60" fmla="*/ 164 w 170"/>
              <a:gd name="T61" fmla="*/ 36 h 163"/>
              <a:gd name="T62" fmla="*/ 154 w 170"/>
              <a:gd name="T63" fmla="*/ 34 h 163"/>
              <a:gd name="T64" fmla="*/ 136 w 170"/>
              <a:gd name="T65" fmla="*/ 33 h 163"/>
              <a:gd name="T66" fmla="*/ 132 w 170"/>
              <a:gd name="T67" fmla="*/ 29 h 163"/>
              <a:gd name="T68" fmla="*/ 130 w 170"/>
              <a:gd name="T69" fmla="*/ 34 h 163"/>
              <a:gd name="T70" fmla="*/ 126 w 170"/>
              <a:gd name="T71" fmla="*/ 3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70" h="163">
                <a:moveTo>
                  <a:pt x="143" y="40"/>
                </a:moveTo>
                <a:cubicBezTo>
                  <a:pt x="148" y="40"/>
                  <a:pt x="151" y="40"/>
                  <a:pt x="155" y="40"/>
                </a:cubicBezTo>
                <a:cubicBezTo>
                  <a:pt x="158" y="40"/>
                  <a:pt x="161" y="40"/>
                  <a:pt x="164" y="43"/>
                </a:cubicBezTo>
                <a:cubicBezTo>
                  <a:pt x="164" y="43"/>
                  <a:pt x="164" y="43"/>
                  <a:pt x="166" y="45"/>
                </a:cubicBezTo>
                <a:cubicBezTo>
                  <a:pt x="166" y="45"/>
                  <a:pt x="166" y="45"/>
                  <a:pt x="167" y="45"/>
                </a:cubicBezTo>
                <a:cubicBezTo>
                  <a:pt x="167" y="45"/>
                  <a:pt x="167" y="45"/>
                  <a:pt x="169" y="45"/>
                </a:cubicBezTo>
                <a:cubicBezTo>
                  <a:pt x="169" y="45"/>
                  <a:pt x="170" y="43"/>
                  <a:pt x="170" y="42"/>
                </a:cubicBezTo>
                <a:cubicBezTo>
                  <a:pt x="170" y="42"/>
                  <a:pt x="170" y="42"/>
                  <a:pt x="170" y="15"/>
                </a:cubicBezTo>
                <a:cubicBezTo>
                  <a:pt x="170" y="13"/>
                  <a:pt x="170" y="13"/>
                  <a:pt x="169" y="12"/>
                </a:cubicBezTo>
                <a:cubicBezTo>
                  <a:pt x="164" y="7"/>
                  <a:pt x="158" y="6"/>
                  <a:pt x="152" y="6"/>
                </a:cubicBezTo>
                <a:cubicBezTo>
                  <a:pt x="149" y="7"/>
                  <a:pt x="146" y="7"/>
                  <a:pt x="143" y="7"/>
                </a:cubicBezTo>
                <a:cubicBezTo>
                  <a:pt x="140" y="7"/>
                  <a:pt x="137" y="6"/>
                  <a:pt x="134" y="3"/>
                </a:cubicBezTo>
                <a:cubicBezTo>
                  <a:pt x="133" y="2"/>
                  <a:pt x="133" y="2"/>
                  <a:pt x="133" y="2"/>
                </a:cubicBezTo>
                <a:cubicBezTo>
                  <a:pt x="132" y="1"/>
                  <a:pt x="130" y="0"/>
                  <a:pt x="128" y="0"/>
                </a:cubicBezTo>
                <a:cubicBezTo>
                  <a:pt x="124" y="0"/>
                  <a:pt x="121" y="3"/>
                  <a:pt x="121" y="7"/>
                </a:cubicBezTo>
                <a:cubicBezTo>
                  <a:pt x="121" y="21"/>
                  <a:pt x="121" y="29"/>
                  <a:pt x="121" y="33"/>
                </a:cubicBezTo>
                <a:cubicBezTo>
                  <a:pt x="87" y="0"/>
                  <a:pt x="87" y="0"/>
                  <a:pt x="87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1" y="79"/>
                  <a:pt x="1" y="79"/>
                  <a:pt x="1" y="79"/>
                </a:cubicBezTo>
                <a:cubicBezTo>
                  <a:pt x="0" y="80"/>
                  <a:pt x="0" y="81"/>
                  <a:pt x="0" y="81"/>
                </a:cubicBezTo>
                <a:cubicBezTo>
                  <a:pt x="0" y="83"/>
                  <a:pt x="0" y="84"/>
                  <a:pt x="3" y="84"/>
                </a:cubicBezTo>
                <a:cubicBezTo>
                  <a:pt x="4" y="84"/>
                  <a:pt x="5" y="84"/>
                  <a:pt x="5" y="84"/>
                </a:cubicBezTo>
                <a:cubicBezTo>
                  <a:pt x="23" y="66"/>
                  <a:pt x="23" y="66"/>
                  <a:pt x="23" y="66"/>
                </a:cubicBezTo>
                <a:cubicBezTo>
                  <a:pt x="23" y="160"/>
                  <a:pt x="23" y="160"/>
                  <a:pt x="23" y="160"/>
                </a:cubicBezTo>
                <a:cubicBezTo>
                  <a:pt x="23" y="161"/>
                  <a:pt x="24" y="163"/>
                  <a:pt x="26" y="163"/>
                </a:cubicBezTo>
                <a:cubicBezTo>
                  <a:pt x="142" y="163"/>
                  <a:pt x="142" y="163"/>
                  <a:pt x="142" y="163"/>
                </a:cubicBezTo>
                <a:cubicBezTo>
                  <a:pt x="144" y="163"/>
                  <a:pt x="145" y="161"/>
                  <a:pt x="145" y="160"/>
                </a:cubicBezTo>
                <a:cubicBezTo>
                  <a:pt x="145" y="66"/>
                  <a:pt x="145" y="66"/>
                  <a:pt x="145" y="66"/>
                </a:cubicBezTo>
                <a:cubicBezTo>
                  <a:pt x="164" y="84"/>
                  <a:pt x="164" y="84"/>
                  <a:pt x="164" y="84"/>
                </a:cubicBezTo>
                <a:cubicBezTo>
                  <a:pt x="165" y="84"/>
                  <a:pt x="166" y="84"/>
                  <a:pt x="166" y="84"/>
                </a:cubicBezTo>
                <a:cubicBezTo>
                  <a:pt x="168" y="84"/>
                  <a:pt x="169" y="83"/>
                  <a:pt x="169" y="82"/>
                </a:cubicBezTo>
                <a:cubicBezTo>
                  <a:pt x="169" y="82"/>
                  <a:pt x="169" y="81"/>
                  <a:pt x="169" y="80"/>
                </a:cubicBezTo>
                <a:cubicBezTo>
                  <a:pt x="155" y="67"/>
                  <a:pt x="144" y="56"/>
                  <a:pt x="135" y="47"/>
                </a:cubicBezTo>
                <a:cubicBezTo>
                  <a:pt x="135" y="38"/>
                  <a:pt x="135" y="38"/>
                  <a:pt x="135" y="38"/>
                </a:cubicBezTo>
                <a:cubicBezTo>
                  <a:pt x="138" y="40"/>
                  <a:pt x="140" y="40"/>
                  <a:pt x="143" y="40"/>
                </a:cubicBezTo>
                <a:close/>
                <a:moveTo>
                  <a:pt x="101" y="157"/>
                </a:moveTo>
                <a:cubicBezTo>
                  <a:pt x="68" y="157"/>
                  <a:pt x="68" y="157"/>
                  <a:pt x="68" y="157"/>
                </a:cubicBezTo>
                <a:cubicBezTo>
                  <a:pt x="68" y="95"/>
                  <a:pt x="68" y="95"/>
                  <a:pt x="68" y="95"/>
                </a:cubicBezTo>
                <a:cubicBezTo>
                  <a:pt x="101" y="95"/>
                  <a:pt x="101" y="95"/>
                  <a:pt x="101" y="95"/>
                </a:cubicBezTo>
                <a:lnTo>
                  <a:pt x="101" y="157"/>
                </a:lnTo>
                <a:close/>
                <a:moveTo>
                  <a:pt x="139" y="15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06" y="92"/>
                  <a:pt x="106" y="92"/>
                  <a:pt x="106" y="92"/>
                </a:cubicBezTo>
                <a:cubicBezTo>
                  <a:pt x="106" y="91"/>
                  <a:pt x="105" y="89"/>
                  <a:pt x="103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3" y="89"/>
                  <a:pt x="62" y="91"/>
                  <a:pt x="62" y="92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29" y="157"/>
                  <a:pt x="29" y="157"/>
                  <a:pt x="29" y="157"/>
                </a:cubicBezTo>
                <a:cubicBezTo>
                  <a:pt x="29" y="59"/>
                  <a:pt x="29" y="59"/>
                  <a:pt x="29" y="59"/>
                </a:cubicBezTo>
                <a:cubicBezTo>
                  <a:pt x="85" y="7"/>
                  <a:pt x="85" y="7"/>
                  <a:pt x="85" y="7"/>
                </a:cubicBezTo>
                <a:cubicBezTo>
                  <a:pt x="139" y="59"/>
                  <a:pt x="139" y="59"/>
                  <a:pt x="139" y="59"/>
                </a:cubicBezTo>
                <a:lnTo>
                  <a:pt x="139" y="157"/>
                </a:lnTo>
                <a:close/>
                <a:moveTo>
                  <a:pt x="126" y="38"/>
                </a:moveTo>
                <a:cubicBezTo>
                  <a:pt x="126" y="7"/>
                  <a:pt x="126" y="7"/>
                  <a:pt x="126" y="7"/>
                </a:cubicBezTo>
                <a:cubicBezTo>
                  <a:pt x="126" y="6"/>
                  <a:pt x="127" y="5"/>
                  <a:pt x="128" y="5"/>
                </a:cubicBezTo>
                <a:cubicBezTo>
                  <a:pt x="129" y="5"/>
                  <a:pt x="129" y="5"/>
                  <a:pt x="130" y="6"/>
                </a:cubicBezTo>
                <a:cubicBezTo>
                  <a:pt x="135" y="10"/>
                  <a:pt x="135" y="10"/>
                  <a:pt x="135" y="10"/>
                </a:cubicBezTo>
                <a:cubicBezTo>
                  <a:pt x="136" y="10"/>
                  <a:pt x="135" y="10"/>
                  <a:pt x="135" y="10"/>
                </a:cubicBezTo>
                <a:cubicBezTo>
                  <a:pt x="137" y="12"/>
                  <a:pt x="140" y="13"/>
                  <a:pt x="143" y="13"/>
                </a:cubicBezTo>
                <a:cubicBezTo>
                  <a:pt x="146" y="13"/>
                  <a:pt x="149" y="13"/>
                  <a:pt x="152" y="12"/>
                </a:cubicBezTo>
                <a:cubicBezTo>
                  <a:pt x="157" y="12"/>
                  <a:pt x="161" y="13"/>
                  <a:pt x="164" y="16"/>
                </a:cubicBezTo>
                <a:cubicBezTo>
                  <a:pt x="164" y="16"/>
                  <a:pt x="164" y="16"/>
                  <a:pt x="164" y="36"/>
                </a:cubicBezTo>
                <a:cubicBezTo>
                  <a:pt x="161" y="34"/>
                  <a:pt x="158" y="34"/>
                  <a:pt x="155" y="34"/>
                </a:cubicBezTo>
                <a:cubicBezTo>
                  <a:pt x="155" y="34"/>
                  <a:pt x="155" y="34"/>
                  <a:pt x="154" y="34"/>
                </a:cubicBezTo>
                <a:cubicBezTo>
                  <a:pt x="151" y="34"/>
                  <a:pt x="146" y="34"/>
                  <a:pt x="143" y="34"/>
                </a:cubicBezTo>
                <a:cubicBezTo>
                  <a:pt x="140" y="34"/>
                  <a:pt x="138" y="34"/>
                  <a:pt x="136" y="33"/>
                </a:cubicBezTo>
                <a:cubicBezTo>
                  <a:pt x="136" y="32"/>
                  <a:pt x="135" y="32"/>
                  <a:pt x="135" y="32"/>
                </a:cubicBezTo>
                <a:cubicBezTo>
                  <a:pt x="132" y="30"/>
                  <a:pt x="132" y="29"/>
                  <a:pt x="132" y="29"/>
                </a:cubicBezTo>
                <a:cubicBezTo>
                  <a:pt x="130" y="30"/>
                  <a:pt x="130" y="30"/>
                  <a:pt x="130" y="30"/>
                </a:cubicBezTo>
                <a:cubicBezTo>
                  <a:pt x="130" y="34"/>
                  <a:pt x="130" y="34"/>
                  <a:pt x="130" y="34"/>
                </a:cubicBezTo>
                <a:cubicBezTo>
                  <a:pt x="130" y="39"/>
                  <a:pt x="130" y="41"/>
                  <a:pt x="130" y="42"/>
                </a:cubicBezTo>
                <a:cubicBezTo>
                  <a:pt x="128" y="40"/>
                  <a:pt x="127" y="39"/>
                  <a:pt x="126" y="3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1F27112-D4B7-491D-A2F1-76ABE0B4254C}"/>
              </a:ext>
            </a:extLst>
          </p:cNvPr>
          <p:cNvSpPr txBox="1"/>
          <p:nvPr/>
        </p:nvSpPr>
        <p:spPr>
          <a:xfrm>
            <a:off x="356515" y="2416157"/>
            <a:ext cx="1925249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>
                <a:solidFill>
                  <a:sysClr val="windowText" lastClr="000000"/>
                </a:solidFill>
              </a:rPr>
              <a:t>           Fill out a paper form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at your local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council off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kindergar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MCH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support service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Or online at [</a:t>
            </a:r>
            <a:r>
              <a:rPr lang="en-AU" sz="1100" dirty="0">
                <a:solidFill>
                  <a:sysClr val="windowText" lastClr="000000"/>
                </a:solidFill>
                <a:highlight>
                  <a:srgbClr val="FFFF00"/>
                </a:highlight>
              </a:rPr>
              <a:t>link to CRES landing page].</a:t>
            </a:r>
          </a:p>
          <a:p>
            <a:endParaRPr lang="en-AU" sz="1100" dirty="0">
              <a:solidFill>
                <a:sysClr val="windowText" lastClr="000000"/>
              </a:solidFill>
            </a:endParaRP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Registration costs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$</a:t>
            </a:r>
            <a:r>
              <a:rPr lang="en-AU" sz="1100" dirty="0">
                <a:solidFill>
                  <a:sysClr val="windowText" lastClr="000000"/>
                </a:solidFill>
                <a:highlight>
                  <a:srgbClr val="FFFF00"/>
                </a:highlight>
              </a:rPr>
              <a:t>XX</a:t>
            </a:r>
            <a:r>
              <a:rPr lang="en-AU" sz="1100" dirty="0">
                <a:solidFill>
                  <a:sysClr val="windowText" lastClr="000000"/>
                </a:solidFill>
              </a:rPr>
              <a:t>, but there is no cost if your child meets the criteria in the next column.</a:t>
            </a:r>
          </a:p>
          <a:p>
            <a:endParaRPr lang="en-AU" sz="1100" dirty="0">
              <a:solidFill>
                <a:sysClr val="windowText" lastClr="000000"/>
              </a:solidFill>
            </a:endParaRPr>
          </a:p>
          <a:p>
            <a:pPr lvl="0"/>
            <a:r>
              <a:rPr lang="en-AU" sz="1100" dirty="0">
                <a:solidFill>
                  <a:sysClr val="windowText" lastClr="000000"/>
                </a:solidFill>
              </a:rPr>
              <a:t>          Registrations are </a:t>
            </a:r>
          </a:p>
          <a:p>
            <a:pPr lvl="0"/>
            <a:r>
              <a:rPr lang="en-AU" sz="1100" dirty="0">
                <a:solidFill>
                  <a:sysClr val="windowText" lastClr="000000"/>
                </a:solidFill>
              </a:rPr>
              <a:t>          open from 1 March to 30 May. You can still register after this, but first round registrations will be considered first. </a:t>
            </a:r>
            <a:endParaRPr lang="en-AU" dirty="0">
              <a:solidFill>
                <a:sysClr val="windowText" lastClr="00000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AU" dirty="0">
              <a:solidFill>
                <a:sysClr val="windowText" lastClr="000000"/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C36C3877-9BC6-44AF-9A90-9B699C1DABC1}"/>
              </a:ext>
            </a:extLst>
          </p:cNvPr>
          <p:cNvGrpSpPr>
            <a:grpSpLocks noChangeAspect="1"/>
          </p:cNvGrpSpPr>
          <p:nvPr/>
        </p:nvGrpSpPr>
        <p:grpSpPr>
          <a:xfrm>
            <a:off x="404324" y="2392781"/>
            <a:ext cx="311163" cy="360000"/>
            <a:chOff x="3151063" y="1100138"/>
            <a:chExt cx="436564" cy="539750"/>
          </a:xfrm>
          <a:solidFill>
            <a:schemeClr val="tx2"/>
          </a:solidFill>
        </p:grpSpPr>
        <p:sp>
          <p:nvSpPr>
            <p:cNvPr id="97" name="Freeform 25">
              <a:extLst>
                <a:ext uri="{FF2B5EF4-FFF2-40B4-BE49-F238E27FC236}">
                  <a16:creationId xmlns:a16="http://schemas.microsoft.com/office/drawing/2014/main" id="{513214FB-2C74-455F-A14C-1461D494D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26">
              <a:extLst>
                <a:ext uri="{FF2B5EF4-FFF2-40B4-BE49-F238E27FC236}">
                  <a16:creationId xmlns:a16="http://schemas.microsoft.com/office/drawing/2014/main" id="{DD2DD06F-D68E-4DF9-AC3A-03283AB1C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27">
              <a:extLst>
                <a:ext uri="{FF2B5EF4-FFF2-40B4-BE49-F238E27FC236}">
                  <a16:creationId xmlns:a16="http://schemas.microsoft.com/office/drawing/2014/main" id="{7B6A8E14-2C18-441D-B0F4-3055F217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28">
              <a:extLst>
                <a:ext uri="{FF2B5EF4-FFF2-40B4-BE49-F238E27FC236}">
                  <a16:creationId xmlns:a16="http://schemas.microsoft.com/office/drawing/2014/main" id="{DFEAA8F7-38ED-4522-9380-7DB10E7B2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29">
              <a:extLst>
                <a:ext uri="{FF2B5EF4-FFF2-40B4-BE49-F238E27FC236}">
                  <a16:creationId xmlns:a16="http://schemas.microsoft.com/office/drawing/2014/main" id="{B3EFF7AB-7881-4196-A1D8-FEBE9C2B9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2" name="Freeform 38">
            <a:extLst>
              <a:ext uri="{FF2B5EF4-FFF2-40B4-BE49-F238E27FC236}">
                <a16:creationId xmlns:a16="http://schemas.microsoft.com/office/drawing/2014/main" id="{28E2437F-D690-4C44-9AA9-E0B4B1064A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4324" y="3935556"/>
            <a:ext cx="360000" cy="360000"/>
          </a:xfrm>
          <a:custGeom>
            <a:avLst/>
            <a:gdLst>
              <a:gd name="T0" fmla="*/ 8 w 171"/>
              <a:gd name="T1" fmla="*/ 85 h 170"/>
              <a:gd name="T2" fmla="*/ 163 w 171"/>
              <a:gd name="T3" fmla="*/ 85 h 170"/>
              <a:gd name="T4" fmla="*/ 85 w 171"/>
              <a:gd name="T5" fmla="*/ 0 h 170"/>
              <a:gd name="T6" fmla="*/ 85 w 171"/>
              <a:gd name="T7" fmla="*/ 170 h 170"/>
              <a:gd name="T8" fmla="*/ 85 w 171"/>
              <a:gd name="T9" fmla="*/ 0 h 170"/>
              <a:gd name="T10" fmla="*/ 88 w 171"/>
              <a:gd name="T11" fmla="*/ 109 h 170"/>
              <a:gd name="T12" fmla="*/ 91 w 171"/>
              <a:gd name="T13" fmla="*/ 90 h 170"/>
              <a:gd name="T14" fmla="*/ 97 w 171"/>
              <a:gd name="T15" fmla="*/ 95 h 170"/>
              <a:gd name="T16" fmla="*/ 95 w 171"/>
              <a:gd name="T17" fmla="*/ 107 h 170"/>
              <a:gd name="T18" fmla="*/ 80 w 171"/>
              <a:gd name="T19" fmla="*/ 76 h 170"/>
              <a:gd name="T20" fmla="*/ 75 w 171"/>
              <a:gd name="T21" fmla="*/ 72 h 170"/>
              <a:gd name="T22" fmla="*/ 76 w 171"/>
              <a:gd name="T23" fmla="*/ 62 h 170"/>
              <a:gd name="T24" fmla="*/ 83 w 171"/>
              <a:gd name="T25" fmla="*/ 77 h 170"/>
              <a:gd name="T26" fmla="*/ 95 w 171"/>
              <a:gd name="T27" fmla="*/ 81 h 170"/>
              <a:gd name="T28" fmla="*/ 88 w 171"/>
              <a:gd name="T29" fmla="*/ 60 h 170"/>
              <a:gd name="T30" fmla="*/ 96 w 171"/>
              <a:gd name="T31" fmla="*/ 69 h 170"/>
              <a:gd name="T32" fmla="*/ 104 w 171"/>
              <a:gd name="T33" fmla="*/ 61 h 170"/>
              <a:gd name="T34" fmla="*/ 94 w 171"/>
              <a:gd name="T35" fmla="*/ 53 h 170"/>
              <a:gd name="T36" fmla="*/ 88 w 171"/>
              <a:gd name="T37" fmla="*/ 46 h 170"/>
              <a:gd name="T38" fmla="*/ 83 w 171"/>
              <a:gd name="T39" fmla="*/ 52 h 170"/>
              <a:gd name="T40" fmla="*/ 70 w 171"/>
              <a:gd name="T41" fmla="*/ 56 h 170"/>
              <a:gd name="T42" fmla="*/ 64 w 171"/>
              <a:gd name="T43" fmla="*/ 69 h 170"/>
              <a:gd name="T44" fmla="*/ 70 w 171"/>
              <a:gd name="T45" fmla="*/ 82 h 170"/>
              <a:gd name="T46" fmla="*/ 83 w 171"/>
              <a:gd name="T47" fmla="*/ 88 h 170"/>
              <a:gd name="T48" fmla="*/ 75 w 171"/>
              <a:gd name="T49" fmla="*/ 106 h 170"/>
              <a:gd name="T50" fmla="*/ 63 w 171"/>
              <a:gd name="T51" fmla="*/ 97 h 170"/>
              <a:gd name="T52" fmla="*/ 68 w 171"/>
              <a:gd name="T53" fmla="*/ 112 h 170"/>
              <a:gd name="T54" fmla="*/ 83 w 171"/>
              <a:gd name="T55" fmla="*/ 117 h 170"/>
              <a:gd name="T56" fmla="*/ 88 w 171"/>
              <a:gd name="T57" fmla="*/ 123 h 170"/>
              <a:gd name="T58" fmla="*/ 95 w 171"/>
              <a:gd name="T59" fmla="*/ 116 h 170"/>
              <a:gd name="T60" fmla="*/ 106 w 171"/>
              <a:gd name="T61" fmla="*/ 106 h 170"/>
              <a:gd name="T62" fmla="*/ 105 w 171"/>
              <a:gd name="T63" fmla="*/ 9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1" h="170">
                <a:moveTo>
                  <a:pt x="85" y="162"/>
                </a:moveTo>
                <a:cubicBezTo>
                  <a:pt x="43" y="162"/>
                  <a:pt x="8" y="127"/>
                  <a:pt x="8" y="85"/>
                </a:cubicBezTo>
                <a:cubicBezTo>
                  <a:pt x="8" y="42"/>
                  <a:pt x="43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27"/>
                  <a:pt x="128" y="162"/>
                  <a:pt x="85" y="162"/>
                </a:cubicBezTo>
                <a:moveTo>
                  <a:pt x="85" y="0"/>
                </a:moveTo>
                <a:cubicBezTo>
                  <a:pt x="39" y="0"/>
                  <a:pt x="0" y="38"/>
                  <a:pt x="0" y="85"/>
                </a:cubicBezTo>
                <a:cubicBezTo>
                  <a:pt x="0" y="132"/>
                  <a:pt x="39" y="170"/>
                  <a:pt x="85" y="170"/>
                </a:cubicBezTo>
                <a:cubicBezTo>
                  <a:pt x="132" y="170"/>
                  <a:pt x="171" y="132"/>
                  <a:pt x="171" y="85"/>
                </a:cubicBezTo>
                <a:cubicBezTo>
                  <a:pt x="171" y="38"/>
                  <a:pt x="132" y="0"/>
                  <a:pt x="85" y="0"/>
                </a:cubicBezTo>
                <a:moveTo>
                  <a:pt x="95" y="107"/>
                </a:moveTo>
                <a:cubicBezTo>
                  <a:pt x="93" y="108"/>
                  <a:pt x="91" y="109"/>
                  <a:pt x="88" y="109"/>
                </a:cubicBezTo>
                <a:cubicBezTo>
                  <a:pt x="88" y="89"/>
                  <a:pt x="88" y="89"/>
                  <a:pt x="88" y="89"/>
                </a:cubicBezTo>
                <a:cubicBezTo>
                  <a:pt x="89" y="89"/>
                  <a:pt x="90" y="90"/>
                  <a:pt x="91" y="90"/>
                </a:cubicBezTo>
                <a:cubicBezTo>
                  <a:pt x="92" y="91"/>
                  <a:pt x="93" y="91"/>
                  <a:pt x="94" y="92"/>
                </a:cubicBezTo>
                <a:cubicBezTo>
                  <a:pt x="95" y="93"/>
                  <a:pt x="96" y="94"/>
                  <a:pt x="97" y="95"/>
                </a:cubicBezTo>
                <a:cubicBezTo>
                  <a:pt x="97" y="96"/>
                  <a:pt x="97" y="97"/>
                  <a:pt x="97" y="99"/>
                </a:cubicBezTo>
                <a:cubicBezTo>
                  <a:pt x="97" y="103"/>
                  <a:pt x="97" y="105"/>
                  <a:pt x="95" y="107"/>
                </a:cubicBezTo>
                <a:moveTo>
                  <a:pt x="83" y="77"/>
                </a:moveTo>
                <a:cubicBezTo>
                  <a:pt x="81" y="77"/>
                  <a:pt x="81" y="77"/>
                  <a:pt x="80" y="76"/>
                </a:cubicBezTo>
                <a:cubicBezTo>
                  <a:pt x="79" y="76"/>
                  <a:pt x="78" y="75"/>
                  <a:pt x="77" y="74"/>
                </a:cubicBezTo>
                <a:cubicBezTo>
                  <a:pt x="76" y="74"/>
                  <a:pt x="75" y="73"/>
                  <a:pt x="75" y="72"/>
                </a:cubicBezTo>
                <a:cubicBezTo>
                  <a:pt x="74" y="71"/>
                  <a:pt x="74" y="70"/>
                  <a:pt x="74" y="68"/>
                </a:cubicBezTo>
                <a:cubicBezTo>
                  <a:pt x="74" y="65"/>
                  <a:pt x="75" y="63"/>
                  <a:pt x="76" y="62"/>
                </a:cubicBezTo>
                <a:cubicBezTo>
                  <a:pt x="78" y="60"/>
                  <a:pt x="80" y="60"/>
                  <a:pt x="83" y="60"/>
                </a:cubicBezTo>
                <a:cubicBezTo>
                  <a:pt x="83" y="77"/>
                  <a:pt x="83" y="77"/>
                  <a:pt x="83" y="77"/>
                </a:cubicBezTo>
                <a:close/>
                <a:moveTo>
                  <a:pt x="101" y="84"/>
                </a:moveTo>
                <a:cubicBezTo>
                  <a:pt x="99" y="83"/>
                  <a:pt x="97" y="82"/>
                  <a:pt x="95" y="81"/>
                </a:cubicBezTo>
                <a:cubicBezTo>
                  <a:pt x="92" y="80"/>
                  <a:pt x="90" y="79"/>
                  <a:pt x="88" y="78"/>
                </a:cubicBezTo>
                <a:cubicBezTo>
                  <a:pt x="88" y="60"/>
                  <a:pt x="88" y="60"/>
                  <a:pt x="88" y="60"/>
                </a:cubicBezTo>
                <a:cubicBezTo>
                  <a:pt x="91" y="60"/>
                  <a:pt x="92" y="60"/>
                  <a:pt x="94" y="62"/>
                </a:cubicBezTo>
                <a:cubicBezTo>
                  <a:pt x="95" y="64"/>
                  <a:pt x="96" y="66"/>
                  <a:pt x="96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66"/>
                  <a:pt x="105" y="64"/>
                  <a:pt x="104" y="61"/>
                </a:cubicBezTo>
                <a:cubicBezTo>
                  <a:pt x="103" y="59"/>
                  <a:pt x="102" y="57"/>
                  <a:pt x="100" y="56"/>
                </a:cubicBezTo>
                <a:cubicBezTo>
                  <a:pt x="98" y="55"/>
                  <a:pt x="97" y="54"/>
                  <a:pt x="94" y="53"/>
                </a:cubicBezTo>
                <a:cubicBezTo>
                  <a:pt x="92" y="52"/>
                  <a:pt x="90" y="52"/>
                  <a:pt x="88" y="52"/>
                </a:cubicBezTo>
                <a:cubicBezTo>
                  <a:pt x="88" y="46"/>
                  <a:pt x="88" y="46"/>
                  <a:pt x="88" y="46"/>
                </a:cubicBezTo>
                <a:cubicBezTo>
                  <a:pt x="83" y="46"/>
                  <a:pt x="83" y="46"/>
                  <a:pt x="83" y="46"/>
                </a:cubicBezTo>
                <a:cubicBezTo>
                  <a:pt x="83" y="52"/>
                  <a:pt x="83" y="52"/>
                  <a:pt x="83" y="52"/>
                </a:cubicBezTo>
                <a:cubicBezTo>
                  <a:pt x="80" y="52"/>
                  <a:pt x="78" y="52"/>
                  <a:pt x="76" y="53"/>
                </a:cubicBezTo>
                <a:cubicBezTo>
                  <a:pt x="74" y="54"/>
                  <a:pt x="72" y="55"/>
                  <a:pt x="70" y="56"/>
                </a:cubicBezTo>
                <a:cubicBezTo>
                  <a:pt x="68" y="58"/>
                  <a:pt x="67" y="59"/>
                  <a:pt x="66" y="62"/>
                </a:cubicBezTo>
                <a:cubicBezTo>
                  <a:pt x="65" y="64"/>
                  <a:pt x="64" y="66"/>
                  <a:pt x="64" y="69"/>
                </a:cubicBezTo>
                <a:cubicBezTo>
                  <a:pt x="64" y="72"/>
                  <a:pt x="65" y="75"/>
                  <a:pt x="66" y="77"/>
                </a:cubicBezTo>
                <a:cubicBezTo>
                  <a:pt x="67" y="79"/>
                  <a:pt x="68" y="81"/>
                  <a:pt x="70" y="82"/>
                </a:cubicBezTo>
                <a:cubicBezTo>
                  <a:pt x="72" y="84"/>
                  <a:pt x="74" y="85"/>
                  <a:pt x="76" y="86"/>
                </a:cubicBezTo>
                <a:cubicBezTo>
                  <a:pt x="79" y="87"/>
                  <a:pt x="80" y="88"/>
                  <a:pt x="83" y="88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79" y="109"/>
                  <a:pt x="77" y="108"/>
                  <a:pt x="75" y="106"/>
                </a:cubicBezTo>
                <a:cubicBezTo>
                  <a:pt x="73" y="104"/>
                  <a:pt x="72" y="101"/>
                  <a:pt x="72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3" y="100"/>
                  <a:pt x="63" y="103"/>
                  <a:pt x="64" y="105"/>
                </a:cubicBezTo>
                <a:cubicBezTo>
                  <a:pt x="65" y="108"/>
                  <a:pt x="67" y="110"/>
                  <a:pt x="68" y="112"/>
                </a:cubicBezTo>
                <a:cubicBezTo>
                  <a:pt x="70" y="114"/>
                  <a:pt x="72" y="115"/>
                  <a:pt x="75" y="116"/>
                </a:cubicBezTo>
                <a:cubicBezTo>
                  <a:pt x="77" y="117"/>
                  <a:pt x="80" y="117"/>
                  <a:pt x="83" y="117"/>
                </a:cubicBezTo>
                <a:cubicBezTo>
                  <a:pt x="83" y="123"/>
                  <a:pt x="83" y="123"/>
                  <a:pt x="83" y="123"/>
                </a:cubicBezTo>
                <a:cubicBezTo>
                  <a:pt x="88" y="123"/>
                  <a:pt x="88" y="123"/>
                  <a:pt x="88" y="12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1" y="117"/>
                  <a:pt x="92" y="117"/>
                  <a:pt x="95" y="116"/>
                </a:cubicBezTo>
                <a:cubicBezTo>
                  <a:pt x="97" y="115"/>
                  <a:pt x="99" y="114"/>
                  <a:pt x="101" y="112"/>
                </a:cubicBezTo>
                <a:cubicBezTo>
                  <a:pt x="103" y="111"/>
                  <a:pt x="105" y="109"/>
                  <a:pt x="106" y="106"/>
                </a:cubicBezTo>
                <a:cubicBezTo>
                  <a:pt x="107" y="104"/>
                  <a:pt x="107" y="101"/>
                  <a:pt x="107" y="98"/>
                </a:cubicBezTo>
                <a:cubicBezTo>
                  <a:pt x="107" y="94"/>
                  <a:pt x="107" y="92"/>
                  <a:pt x="105" y="90"/>
                </a:cubicBezTo>
                <a:cubicBezTo>
                  <a:pt x="104" y="87"/>
                  <a:pt x="103" y="86"/>
                  <a:pt x="101" y="84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528DB-53CD-408C-901F-238D2EB4B5AB}"/>
              </a:ext>
            </a:extLst>
          </p:cNvPr>
          <p:cNvSpPr txBox="1"/>
          <p:nvPr/>
        </p:nvSpPr>
        <p:spPr>
          <a:xfrm>
            <a:off x="2759399" y="2401859"/>
            <a:ext cx="1972537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>
                <a:solidFill>
                  <a:sysClr val="windowText" lastClr="000000"/>
                </a:solidFill>
              </a:rPr>
              <a:t>           Some children can             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get priority allocation. They are also eligible for reduced cost or free kindergarten.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Your child is eligible if they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Aboriginal or Torres Strait Island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known to Child Protection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a multiple birth child (triplet or quadruple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Hold, or have a parent or carer who hold: a humanitarian or refugee visa, a Commonwealth Health Care Card, a Pensioner Concession Card, or a Veteran’s Affairs Car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Have additional developmental needs</a:t>
            </a:r>
          </a:p>
        </p:txBody>
      </p:sp>
      <p:sp>
        <p:nvSpPr>
          <p:cNvPr id="107" name="Freeform 38">
            <a:extLst>
              <a:ext uri="{FF2B5EF4-FFF2-40B4-BE49-F238E27FC236}">
                <a16:creationId xmlns:a16="http://schemas.microsoft.com/office/drawing/2014/main" id="{38E8C3F4-D25F-4052-970F-F993A20FF8E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22096" y="2348922"/>
            <a:ext cx="365270" cy="365270"/>
          </a:xfrm>
          <a:custGeom>
            <a:avLst/>
            <a:gdLst>
              <a:gd name="T0" fmla="*/ 8 w 171"/>
              <a:gd name="T1" fmla="*/ 85 h 170"/>
              <a:gd name="T2" fmla="*/ 163 w 171"/>
              <a:gd name="T3" fmla="*/ 85 h 170"/>
              <a:gd name="T4" fmla="*/ 85 w 171"/>
              <a:gd name="T5" fmla="*/ 0 h 170"/>
              <a:gd name="T6" fmla="*/ 85 w 171"/>
              <a:gd name="T7" fmla="*/ 170 h 170"/>
              <a:gd name="T8" fmla="*/ 85 w 171"/>
              <a:gd name="T9" fmla="*/ 0 h 170"/>
              <a:gd name="T10" fmla="*/ 88 w 171"/>
              <a:gd name="T11" fmla="*/ 109 h 170"/>
              <a:gd name="T12" fmla="*/ 91 w 171"/>
              <a:gd name="T13" fmla="*/ 90 h 170"/>
              <a:gd name="T14" fmla="*/ 97 w 171"/>
              <a:gd name="T15" fmla="*/ 95 h 170"/>
              <a:gd name="T16" fmla="*/ 95 w 171"/>
              <a:gd name="T17" fmla="*/ 107 h 170"/>
              <a:gd name="T18" fmla="*/ 80 w 171"/>
              <a:gd name="T19" fmla="*/ 76 h 170"/>
              <a:gd name="T20" fmla="*/ 75 w 171"/>
              <a:gd name="T21" fmla="*/ 72 h 170"/>
              <a:gd name="T22" fmla="*/ 76 w 171"/>
              <a:gd name="T23" fmla="*/ 62 h 170"/>
              <a:gd name="T24" fmla="*/ 83 w 171"/>
              <a:gd name="T25" fmla="*/ 77 h 170"/>
              <a:gd name="T26" fmla="*/ 95 w 171"/>
              <a:gd name="T27" fmla="*/ 81 h 170"/>
              <a:gd name="T28" fmla="*/ 88 w 171"/>
              <a:gd name="T29" fmla="*/ 60 h 170"/>
              <a:gd name="T30" fmla="*/ 96 w 171"/>
              <a:gd name="T31" fmla="*/ 69 h 170"/>
              <a:gd name="T32" fmla="*/ 104 w 171"/>
              <a:gd name="T33" fmla="*/ 61 h 170"/>
              <a:gd name="T34" fmla="*/ 94 w 171"/>
              <a:gd name="T35" fmla="*/ 53 h 170"/>
              <a:gd name="T36" fmla="*/ 88 w 171"/>
              <a:gd name="T37" fmla="*/ 46 h 170"/>
              <a:gd name="T38" fmla="*/ 83 w 171"/>
              <a:gd name="T39" fmla="*/ 52 h 170"/>
              <a:gd name="T40" fmla="*/ 70 w 171"/>
              <a:gd name="T41" fmla="*/ 56 h 170"/>
              <a:gd name="T42" fmla="*/ 64 w 171"/>
              <a:gd name="T43" fmla="*/ 69 h 170"/>
              <a:gd name="T44" fmla="*/ 70 w 171"/>
              <a:gd name="T45" fmla="*/ 82 h 170"/>
              <a:gd name="T46" fmla="*/ 83 w 171"/>
              <a:gd name="T47" fmla="*/ 88 h 170"/>
              <a:gd name="T48" fmla="*/ 75 w 171"/>
              <a:gd name="T49" fmla="*/ 106 h 170"/>
              <a:gd name="T50" fmla="*/ 63 w 171"/>
              <a:gd name="T51" fmla="*/ 97 h 170"/>
              <a:gd name="T52" fmla="*/ 68 w 171"/>
              <a:gd name="T53" fmla="*/ 112 h 170"/>
              <a:gd name="T54" fmla="*/ 83 w 171"/>
              <a:gd name="T55" fmla="*/ 117 h 170"/>
              <a:gd name="T56" fmla="*/ 88 w 171"/>
              <a:gd name="T57" fmla="*/ 123 h 170"/>
              <a:gd name="T58" fmla="*/ 95 w 171"/>
              <a:gd name="T59" fmla="*/ 116 h 170"/>
              <a:gd name="T60" fmla="*/ 106 w 171"/>
              <a:gd name="T61" fmla="*/ 106 h 170"/>
              <a:gd name="T62" fmla="*/ 105 w 171"/>
              <a:gd name="T63" fmla="*/ 9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1" h="170">
                <a:moveTo>
                  <a:pt x="85" y="162"/>
                </a:moveTo>
                <a:cubicBezTo>
                  <a:pt x="43" y="162"/>
                  <a:pt x="8" y="127"/>
                  <a:pt x="8" y="85"/>
                </a:cubicBezTo>
                <a:cubicBezTo>
                  <a:pt x="8" y="42"/>
                  <a:pt x="43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27"/>
                  <a:pt x="128" y="162"/>
                  <a:pt x="85" y="162"/>
                </a:cubicBezTo>
                <a:moveTo>
                  <a:pt x="85" y="0"/>
                </a:moveTo>
                <a:cubicBezTo>
                  <a:pt x="39" y="0"/>
                  <a:pt x="0" y="38"/>
                  <a:pt x="0" y="85"/>
                </a:cubicBezTo>
                <a:cubicBezTo>
                  <a:pt x="0" y="132"/>
                  <a:pt x="39" y="170"/>
                  <a:pt x="85" y="170"/>
                </a:cubicBezTo>
                <a:cubicBezTo>
                  <a:pt x="132" y="170"/>
                  <a:pt x="171" y="132"/>
                  <a:pt x="171" y="85"/>
                </a:cubicBezTo>
                <a:cubicBezTo>
                  <a:pt x="171" y="38"/>
                  <a:pt x="132" y="0"/>
                  <a:pt x="85" y="0"/>
                </a:cubicBezTo>
                <a:moveTo>
                  <a:pt x="95" y="107"/>
                </a:moveTo>
                <a:cubicBezTo>
                  <a:pt x="93" y="108"/>
                  <a:pt x="91" y="109"/>
                  <a:pt x="88" y="109"/>
                </a:cubicBezTo>
                <a:cubicBezTo>
                  <a:pt x="88" y="89"/>
                  <a:pt x="88" y="89"/>
                  <a:pt x="88" y="89"/>
                </a:cubicBezTo>
                <a:cubicBezTo>
                  <a:pt x="89" y="89"/>
                  <a:pt x="90" y="90"/>
                  <a:pt x="91" y="90"/>
                </a:cubicBezTo>
                <a:cubicBezTo>
                  <a:pt x="92" y="91"/>
                  <a:pt x="93" y="91"/>
                  <a:pt x="94" y="92"/>
                </a:cubicBezTo>
                <a:cubicBezTo>
                  <a:pt x="95" y="93"/>
                  <a:pt x="96" y="94"/>
                  <a:pt x="97" y="95"/>
                </a:cubicBezTo>
                <a:cubicBezTo>
                  <a:pt x="97" y="96"/>
                  <a:pt x="97" y="97"/>
                  <a:pt x="97" y="99"/>
                </a:cubicBezTo>
                <a:cubicBezTo>
                  <a:pt x="97" y="103"/>
                  <a:pt x="97" y="105"/>
                  <a:pt x="95" y="107"/>
                </a:cubicBezTo>
                <a:moveTo>
                  <a:pt x="83" y="77"/>
                </a:moveTo>
                <a:cubicBezTo>
                  <a:pt x="81" y="77"/>
                  <a:pt x="81" y="77"/>
                  <a:pt x="80" y="76"/>
                </a:cubicBezTo>
                <a:cubicBezTo>
                  <a:pt x="79" y="76"/>
                  <a:pt x="78" y="75"/>
                  <a:pt x="77" y="74"/>
                </a:cubicBezTo>
                <a:cubicBezTo>
                  <a:pt x="76" y="74"/>
                  <a:pt x="75" y="73"/>
                  <a:pt x="75" y="72"/>
                </a:cubicBezTo>
                <a:cubicBezTo>
                  <a:pt x="74" y="71"/>
                  <a:pt x="74" y="70"/>
                  <a:pt x="74" y="68"/>
                </a:cubicBezTo>
                <a:cubicBezTo>
                  <a:pt x="74" y="65"/>
                  <a:pt x="75" y="63"/>
                  <a:pt x="76" y="62"/>
                </a:cubicBezTo>
                <a:cubicBezTo>
                  <a:pt x="78" y="60"/>
                  <a:pt x="80" y="60"/>
                  <a:pt x="83" y="60"/>
                </a:cubicBezTo>
                <a:cubicBezTo>
                  <a:pt x="83" y="77"/>
                  <a:pt x="83" y="77"/>
                  <a:pt x="83" y="77"/>
                </a:cubicBezTo>
                <a:close/>
                <a:moveTo>
                  <a:pt x="101" y="84"/>
                </a:moveTo>
                <a:cubicBezTo>
                  <a:pt x="99" y="83"/>
                  <a:pt x="97" y="82"/>
                  <a:pt x="95" y="81"/>
                </a:cubicBezTo>
                <a:cubicBezTo>
                  <a:pt x="92" y="80"/>
                  <a:pt x="90" y="79"/>
                  <a:pt x="88" y="78"/>
                </a:cubicBezTo>
                <a:cubicBezTo>
                  <a:pt x="88" y="60"/>
                  <a:pt x="88" y="60"/>
                  <a:pt x="88" y="60"/>
                </a:cubicBezTo>
                <a:cubicBezTo>
                  <a:pt x="91" y="60"/>
                  <a:pt x="92" y="60"/>
                  <a:pt x="94" y="62"/>
                </a:cubicBezTo>
                <a:cubicBezTo>
                  <a:pt x="95" y="64"/>
                  <a:pt x="96" y="66"/>
                  <a:pt x="96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66"/>
                  <a:pt x="105" y="64"/>
                  <a:pt x="104" y="61"/>
                </a:cubicBezTo>
                <a:cubicBezTo>
                  <a:pt x="103" y="59"/>
                  <a:pt x="102" y="57"/>
                  <a:pt x="100" y="56"/>
                </a:cubicBezTo>
                <a:cubicBezTo>
                  <a:pt x="98" y="55"/>
                  <a:pt x="97" y="54"/>
                  <a:pt x="94" y="53"/>
                </a:cubicBezTo>
                <a:cubicBezTo>
                  <a:pt x="92" y="52"/>
                  <a:pt x="90" y="52"/>
                  <a:pt x="88" y="52"/>
                </a:cubicBezTo>
                <a:cubicBezTo>
                  <a:pt x="88" y="46"/>
                  <a:pt x="88" y="46"/>
                  <a:pt x="88" y="46"/>
                </a:cubicBezTo>
                <a:cubicBezTo>
                  <a:pt x="83" y="46"/>
                  <a:pt x="83" y="46"/>
                  <a:pt x="83" y="46"/>
                </a:cubicBezTo>
                <a:cubicBezTo>
                  <a:pt x="83" y="52"/>
                  <a:pt x="83" y="52"/>
                  <a:pt x="83" y="52"/>
                </a:cubicBezTo>
                <a:cubicBezTo>
                  <a:pt x="80" y="52"/>
                  <a:pt x="78" y="52"/>
                  <a:pt x="76" y="53"/>
                </a:cubicBezTo>
                <a:cubicBezTo>
                  <a:pt x="74" y="54"/>
                  <a:pt x="72" y="55"/>
                  <a:pt x="70" y="56"/>
                </a:cubicBezTo>
                <a:cubicBezTo>
                  <a:pt x="68" y="58"/>
                  <a:pt x="67" y="59"/>
                  <a:pt x="66" y="62"/>
                </a:cubicBezTo>
                <a:cubicBezTo>
                  <a:pt x="65" y="64"/>
                  <a:pt x="64" y="66"/>
                  <a:pt x="64" y="69"/>
                </a:cubicBezTo>
                <a:cubicBezTo>
                  <a:pt x="64" y="72"/>
                  <a:pt x="65" y="75"/>
                  <a:pt x="66" y="77"/>
                </a:cubicBezTo>
                <a:cubicBezTo>
                  <a:pt x="67" y="79"/>
                  <a:pt x="68" y="81"/>
                  <a:pt x="70" y="82"/>
                </a:cubicBezTo>
                <a:cubicBezTo>
                  <a:pt x="72" y="84"/>
                  <a:pt x="74" y="85"/>
                  <a:pt x="76" y="86"/>
                </a:cubicBezTo>
                <a:cubicBezTo>
                  <a:pt x="79" y="87"/>
                  <a:pt x="80" y="88"/>
                  <a:pt x="83" y="88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79" y="109"/>
                  <a:pt x="77" y="108"/>
                  <a:pt x="75" y="106"/>
                </a:cubicBezTo>
                <a:cubicBezTo>
                  <a:pt x="73" y="104"/>
                  <a:pt x="72" y="101"/>
                  <a:pt x="72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3" y="100"/>
                  <a:pt x="63" y="103"/>
                  <a:pt x="64" y="105"/>
                </a:cubicBezTo>
                <a:cubicBezTo>
                  <a:pt x="65" y="108"/>
                  <a:pt x="67" y="110"/>
                  <a:pt x="68" y="112"/>
                </a:cubicBezTo>
                <a:cubicBezTo>
                  <a:pt x="70" y="114"/>
                  <a:pt x="72" y="115"/>
                  <a:pt x="75" y="116"/>
                </a:cubicBezTo>
                <a:cubicBezTo>
                  <a:pt x="77" y="117"/>
                  <a:pt x="80" y="117"/>
                  <a:pt x="83" y="117"/>
                </a:cubicBezTo>
                <a:cubicBezTo>
                  <a:pt x="83" y="123"/>
                  <a:pt x="83" y="123"/>
                  <a:pt x="83" y="123"/>
                </a:cubicBezTo>
                <a:cubicBezTo>
                  <a:pt x="88" y="123"/>
                  <a:pt x="88" y="123"/>
                  <a:pt x="88" y="12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1" y="117"/>
                  <a:pt x="92" y="117"/>
                  <a:pt x="95" y="116"/>
                </a:cubicBezTo>
                <a:cubicBezTo>
                  <a:pt x="97" y="115"/>
                  <a:pt x="99" y="114"/>
                  <a:pt x="101" y="112"/>
                </a:cubicBezTo>
                <a:cubicBezTo>
                  <a:pt x="103" y="111"/>
                  <a:pt x="105" y="109"/>
                  <a:pt x="106" y="106"/>
                </a:cubicBezTo>
                <a:cubicBezTo>
                  <a:pt x="107" y="104"/>
                  <a:pt x="107" y="101"/>
                  <a:pt x="107" y="98"/>
                </a:cubicBezTo>
                <a:cubicBezTo>
                  <a:pt x="107" y="94"/>
                  <a:pt x="107" y="92"/>
                  <a:pt x="105" y="90"/>
                </a:cubicBezTo>
                <a:cubicBezTo>
                  <a:pt x="104" y="87"/>
                  <a:pt x="103" y="86"/>
                  <a:pt x="101" y="84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258C299-6E6D-4EDB-A162-AE1930DD6044}"/>
              </a:ext>
            </a:extLst>
          </p:cNvPr>
          <p:cNvSpPr txBox="1"/>
          <p:nvPr/>
        </p:nvSpPr>
        <p:spPr>
          <a:xfrm>
            <a:off x="5152159" y="2383046"/>
            <a:ext cx="19210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>
                <a:solidFill>
                  <a:sysClr val="windowText" lastClr="000000"/>
                </a:solidFill>
              </a:rPr>
              <a:t>         You will be offered a 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kindergarten place by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text or email. You must respond to an offer within </a:t>
            </a:r>
            <a:r>
              <a:rPr lang="en-AU" sz="1100">
                <a:solidFill>
                  <a:sysClr val="windowText" lastClr="000000"/>
                </a:solidFill>
                <a:highlight>
                  <a:srgbClr val="FFFF00"/>
                </a:highlight>
              </a:rPr>
              <a:t>XX</a:t>
            </a:r>
            <a:r>
              <a:rPr lang="en-AU" sz="1100">
                <a:solidFill>
                  <a:sysClr val="windowText" lastClr="000000"/>
                </a:solidFill>
              </a:rPr>
              <a:t> weeks of getting it. If the offer is not right for you, you can say no and be put on the waitlist. </a:t>
            </a: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r>
              <a:rPr lang="en-AU" sz="1100">
                <a:solidFill>
                  <a:sysClr val="windowText" lastClr="000000"/>
                </a:solidFill>
              </a:rPr>
              <a:t>            First round offers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   come in August, and second round offers come in September. After September, offers will be made weekly or whenever new places are available.</a:t>
            </a:r>
          </a:p>
        </p:txBody>
      </p:sp>
      <p:sp>
        <p:nvSpPr>
          <p:cNvPr id="112" name="Freeform 17">
            <a:extLst>
              <a:ext uri="{FF2B5EF4-FFF2-40B4-BE49-F238E27FC236}">
                <a16:creationId xmlns:a16="http://schemas.microsoft.com/office/drawing/2014/main" id="{298E1B8B-5E9B-4DE2-AB42-372B60F4BB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203462" y="2328955"/>
            <a:ext cx="210180" cy="365270"/>
          </a:xfrm>
          <a:custGeom>
            <a:avLst/>
            <a:gdLst/>
            <a:ahLst/>
            <a:cxnLst>
              <a:cxn ang="0">
                <a:pos x="48" y="11"/>
              </a:cxn>
              <a:cxn ang="0">
                <a:pos x="41" y="11"/>
              </a:cxn>
              <a:cxn ang="0">
                <a:pos x="37" y="15"/>
              </a:cxn>
              <a:cxn ang="0">
                <a:pos x="41" y="18"/>
              </a:cxn>
              <a:cxn ang="0">
                <a:pos x="48" y="18"/>
              </a:cxn>
              <a:cxn ang="0">
                <a:pos x="52" y="15"/>
              </a:cxn>
              <a:cxn ang="0">
                <a:pos x="48" y="11"/>
              </a:cxn>
              <a:cxn ang="0">
                <a:pos x="82" y="22"/>
              </a:cxn>
              <a:cxn ang="0">
                <a:pos x="7" y="22"/>
              </a:cxn>
              <a:cxn ang="0">
                <a:pos x="7" y="15"/>
              </a:cxn>
              <a:cxn ang="0">
                <a:pos x="15" y="7"/>
              </a:cxn>
              <a:cxn ang="0">
                <a:pos x="74" y="7"/>
              </a:cxn>
              <a:cxn ang="0">
                <a:pos x="82" y="15"/>
              </a:cxn>
              <a:cxn ang="0">
                <a:pos x="82" y="22"/>
              </a:cxn>
              <a:cxn ang="0">
                <a:pos x="82" y="132"/>
              </a:cxn>
              <a:cxn ang="0">
                <a:pos x="7" y="132"/>
              </a:cxn>
              <a:cxn ang="0">
                <a:pos x="7" y="29"/>
              </a:cxn>
              <a:cxn ang="0">
                <a:pos x="82" y="29"/>
              </a:cxn>
              <a:cxn ang="0">
                <a:pos x="82" y="132"/>
              </a:cxn>
              <a:cxn ang="0">
                <a:pos x="82" y="147"/>
              </a:cxn>
              <a:cxn ang="0">
                <a:pos x="74" y="154"/>
              </a:cxn>
              <a:cxn ang="0">
                <a:pos x="15" y="154"/>
              </a:cxn>
              <a:cxn ang="0">
                <a:pos x="7" y="147"/>
              </a:cxn>
              <a:cxn ang="0">
                <a:pos x="7" y="139"/>
              </a:cxn>
              <a:cxn ang="0">
                <a:pos x="82" y="139"/>
              </a:cxn>
              <a:cxn ang="0">
                <a:pos x="82" y="147"/>
              </a:cxn>
              <a:cxn ang="0">
                <a:pos x="74" y="0"/>
              </a:cxn>
              <a:cxn ang="0">
                <a:pos x="15" y="0"/>
              </a:cxn>
              <a:cxn ang="0">
                <a:pos x="0" y="15"/>
              </a:cxn>
              <a:cxn ang="0">
                <a:pos x="0" y="147"/>
              </a:cxn>
              <a:cxn ang="0">
                <a:pos x="15" y="161"/>
              </a:cxn>
              <a:cxn ang="0">
                <a:pos x="74" y="161"/>
              </a:cxn>
              <a:cxn ang="0">
                <a:pos x="89" y="147"/>
              </a:cxn>
              <a:cxn ang="0">
                <a:pos x="89" y="15"/>
              </a:cxn>
              <a:cxn ang="0">
                <a:pos x="74" y="0"/>
              </a:cxn>
              <a:cxn ang="0">
                <a:pos x="45" y="150"/>
              </a:cxn>
              <a:cxn ang="0">
                <a:pos x="48" y="147"/>
              </a:cxn>
              <a:cxn ang="0">
                <a:pos x="45" y="143"/>
              </a:cxn>
              <a:cxn ang="0">
                <a:pos x="41" y="147"/>
              </a:cxn>
              <a:cxn ang="0">
                <a:pos x="45" y="150"/>
              </a:cxn>
            </a:cxnLst>
            <a:rect l="0" t="0" r="r" b="b"/>
            <a:pathLst>
              <a:path w="89" h="161">
                <a:moveTo>
                  <a:pt x="48" y="11"/>
                </a:moveTo>
                <a:cubicBezTo>
                  <a:pt x="41" y="11"/>
                  <a:pt x="41" y="11"/>
                  <a:pt x="41" y="11"/>
                </a:cubicBezTo>
                <a:cubicBezTo>
                  <a:pt x="39" y="11"/>
                  <a:pt x="37" y="13"/>
                  <a:pt x="37" y="15"/>
                </a:cubicBezTo>
                <a:cubicBezTo>
                  <a:pt x="37" y="17"/>
                  <a:pt x="39" y="18"/>
                  <a:pt x="41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50" y="18"/>
                  <a:pt x="52" y="17"/>
                  <a:pt x="52" y="15"/>
                </a:cubicBezTo>
                <a:cubicBezTo>
                  <a:pt x="52" y="13"/>
                  <a:pt x="50" y="11"/>
                  <a:pt x="48" y="11"/>
                </a:cubicBezTo>
                <a:moveTo>
                  <a:pt x="82" y="22"/>
                </a:moveTo>
                <a:cubicBezTo>
                  <a:pt x="7" y="22"/>
                  <a:pt x="7" y="22"/>
                  <a:pt x="7" y="22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1"/>
                  <a:pt x="11" y="7"/>
                  <a:pt x="15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8" y="7"/>
                  <a:pt x="82" y="11"/>
                  <a:pt x="82" y="15"/>
                </a:cubicBezTo>
                <a:cubicBezTo>
                  <a:pt x="82" y="22"/>
                  <a:pt x="82" y="22"/>
                  <a:pt x="82" y="22"/>
                </a:cubicBezTo>
                <a:close/>
                <a:moveTo>
                  <a:pt x="82" y="132"/>
                </a:moveTo>
                <a:cubicBezTo>
                  <a:pt x="7" y="132"/>
                  <a:pt x="7" y="132"/>
                  <a:pt x="7" y="132"/>
                </a:cubicBezTo>
                <a:cubicBezTo>
                  <a:pt x="7" y="29"/>
                  <a:pt x="7" y="29"/>
                  <a:pt x="7" y="29"/>
                </a:cubicBezTo>
                <a:cubicBezTo>
                  <a:pt x="82" y="29"/>
                  <a:pt x="82" y="29"/>
                  <a:pt x="82" y="29"/>
                </a:cubicBezTo>
                <a:cubicBezTo>
                  <a:pt x="82" y="132"/>
                  <a:pt x="82" y="132"/>
                  <a:pt x="82" y="132"/>
                </a:cubicBezTo>
                <a:close/>
                <a:moveTo>
                  <a:pt x="82" y="147"/>
                </a:moveTo>
                <a:cubicBezTo>
                  <a:pt x="82" y="151"/>
                  <a:pt x="78" y="154"/>
                  <a:pt x="74" y="154"/>
                </a:cubicBezTo>
                <a:cubicBezTo>
                  <a:pt x="15" y="154"/>
                  <a:pt x="15" y="154"/>
                  <a:pt x="15" y="154"/>
                </a:cubicBezTo>
                <a:cubicBezTo>
                  <a:pt x="11" y="154"/>
                  <a:pt x="7" y="151"/>
                  <a:pt x="7" y="147"/>
                </a:cubicBezTo>
                <a:cubicBezTo>
                  <a:pt x="7" y="139"/>
                  <a:pt x="7" y="139"/>
                  <a:pt x="7" y="139"/>
                </a:cubicBezTo>
                <a:cubicBezTo>
                  <a:pt x="82" y="139"/>
                  <a:pt x="82" y="139"/>
                  <a:pt x="82" y="139"/>
                </a:cubicBezTo>
                <a:cubicBezTo>
                  <a:pt x="82" y="147"/>
                  <a:pt x="82" y="147"/>
                  <a:pt x="82" y="147"/>
                </a:cubicBezTo>
                <a:close/>
                <a:moveTo>
                  <a:pt x="74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55"/>
                  <a:pt x="7" y="161"/>
                  <a:pt x="15" y="161"/>
                </a:cubicBezTo>
                <a:cubicBezTo>
                  <a:pt x="74" y="161"/>
                  <a:pt x="74" y="161"/>
                  <a:pt x="74" y="161"/>
                </a:cubicBezTo>
                <a:cubicBezTo>
                  <a:pt x="82" y="161"/>
                  <a:pt x="89" y="155"/>
                  <a:pt x="89" y="147"/>
                </a:cubicBezTo>
                <a:cubicBezTo>
                  <a:pt x="89" y="15"/>
                  <a:pt x="89" y="15"/>
                  <a:pt x="89" y="15"/>
                </a:cubicBezTo>
                <a:cubicBezTo>
                  <a:pt x="89" y="7"/>
                  <a:pt x="82" y="0"/>
                  <a:pt x="74" y="0"/>
                </a:cubicBezTo>
                <a:moveTo>
                  <a:pt x="45" y="150"/>
                </a:moveTo>
                <a:cubicBezTo>
                  <a:pt x="47" y="150"/>
                  <a:pt x="48" y="149"/>
                  <a:pt x="48" y="147"/>
                </a:cubicBezTo>
                <a:cubicBezTo>
                  <a:pt x="48" y="145"/>
                  <a:pt x="47" y="143"/>
                  <a:pt x="45" y="143"/>
                </a:cubicBezTo>
                <a:cubicBezTo>
                  <a:pt x="42" y="143"/>
                  <a:pt x="41" y="145"/>
                  <a:pt x="41" y="147"/>
                </a:cubicBezTo>
                <a:cubicBezTo>
                  <a:pt x="41" y="149"/>
                  <a:pt x="42" y="150"/>
                  <a:pt x="45" y="150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0F77CBC-36A3-4BAD-B4B2-1E546D523F6C}"/>
              </a:ext>
            </a:extLst>
          </p:cNvPr>
          <p:cNvSpPr txBox="1"/>
          <p:nvPr/>
        </p:nvSpPr>
        <p:spPr>
          <a:xfrm>
            <a:off x="7592570" y="2368532"/>
            <a:ext cx="185874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>
                <a:solidFill>
                  <a:sysClr val="windowText" lastClr="000000"/>
                </a:solidFill>
              </a:rPr>
              <a:t>              Your kindergarten            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      team will contact you to help you enrol and prepare for kinder.</a:t>
            </a: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r>
              <a:rPr lang="en-AU" sz="1100">
                <a:solidFill>
                  <a:sysClr val="windowText" lastClr="000000"/>
                </a:solidFill>
              </a:rPr>
              <a:t>           You will need to give the kinder copies of documents, including your child’s birth certificate and immunisation record. A member of the kinder team, an MCH nurse or support service team member can help you with these.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6763FC6-FEBB-4FEB-9CAD-6D84A6B45D4B}"/>
              </a:ext>
            </a:extLst>
          </p:cNvPr>
          <p:cNvGrpSpPr>
            <a:grpSpLocks noChangeAspect="1"/>
          </p:cNvGrpSpPr>
          <p:nvPr/>
        </p:nvGrpSpPr>
        <p:grpSpPr>
          <a:xfrm>
            <a:off x="7659106" y="3181393"/>
            <a:ext cx="341091" cy="360000"/>
            <a:chOff x="3151063" y="1100138"/>
            <a:chExt cx="436564" cy="539750"/>
          </a:xfrm>
          <a:solidFill>
            <a:schemeClr val="tx2"/>
          </a:solidFill>
        </p:grpSpPr>
        <p:sp>
          <p:nvSpPr>
            <p:cNvPr id="115" name="Freeform 25">
              <a:extLst>
                <a:ext uri="{FF2B5EF4-FFF2-40B4-BE49-F238E27FC236}">
                  <a16:creationId xmlns:a16="http://schemas.microsoft.com/office/drawing/2014/main" id="{658F415B-ADBE-441E-9BDB-6AB8F0BC1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Freeform 26">
              <a:extLst>
                <a:ext uri="{FF2B5EF4-FFF2-40B4-BE49-F238E27FC236}">
                  <a16:creationId xmlns:a16="http://schemas.microsoft.com/office/drawing/2014/main" id="{F4F71807-F6D6-4E67-9AD8-A1DA5840A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Freeform 27">
              <a:extLst>
                <a:ext uri="{FF2B5EF4-FFF2-40B4-BE49-F238E27FC236}">
                  <a16:creationId xmlns:a16="http://schemas.microsoft.com/office/drawing/2014/main" id="{1434193B-DA5C-4FC2-9649-5768A6A40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8C1D658C-2B7C-4891-AECC-BD5B4EC85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2639E872-E3B8-47D7-9479-4BF68EC9E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9D412AB3-7AF6-424E-A5F9-7740C86F2594}"/>
              </a:ext>
            </a:extLst>
          </p:cNvPr>
          <p:cNvGrpSpPr>
            <a:grpSpLocks noChangeAspect="1"/>
          </p:cNvGrpSpPr>
          <p:nvPr/>
        </p:nvGrpSpPr>
        <p:grpSpPr>
          <a:xfrm>
            <a:off x="7599713" y="2328955"/>
            <a:ext cx="602786" cy="365270"/>
            <a:chOff x="2841626" y="2228851"/>
            <a:chExt cx="657225" cy="436563"/>
          </a:xfrm>
          <a:solidFill>
            <a:schemeClr val="tx2"/>
          </a:solidFill>
        </p:grpSpPr>
        <p:sp>
          <p:nvSpPr>
            <p:cNvPr id="121" name="Freeform 27">
              <a:extLst>
                <a:ext uri="{FF2B5EF4-FFF2-40B4-BE49-F238E27FC236}">
                  <a16:creationId xmlns:a16="http://schemas.microsoft.com/office/drawing/2014/main" id="{2C2BC8D1-D872-4FE3-8FBB-68817A457C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1626" y="2228851"/>
              <a:ext cx="455613" cy="260350"/>
            </a:xfrm>
            <a:custGeom>
              <a:avLst/>
              <a:gdLst>
                <a:gd name="T0" fmla="*/ 57 w 143"/>
                <a:gd name="T1" fmla="*/ 17 h 81"/>
                <a:gd name="T2" fmla="*/ 73 w 143"/>
                <a:gd name="T3" fmla="*/ 16 h 81"/>
                <a:gd name="T4" fmla="*/ 76 w 143"/>
                <a:gd name="T5" fmla="*/ 15 h 81"/>
                <a:gd name="T6" fmla="*/ 87 w 143"/>
                <a:gd name="T7" fmla="*/ 14 h 81"/>
                <a:gd name="T8" fmla="*/ 137 w 143"/>
                <a:gd name="T9" fmla="*/ 31 h 81"/>
                <a:gd name="T10" fmla="*/ 133 w 143"/>
                <a:gd name="T11" fmla="*/ 38 h 81"/>
                <a:gd name="T12" fmla="*/ 123 w 143"/>
                <a:gd name="T13" fmla="*/ 38 h 81"/>
                <a:gd name="T14" fmla="*/ 101 w 143"/>
                <a:gd name="T15" fmla="*/ 31 h 81"/>
                <a:gd name="T16" fmla="*/ 98 w 143"/>
                <a:gd name="T17" fmla="*/ 31 h 81"/>
                <a:gd name="T18" fmla="*/ 97 w 143"/>
                <a:gd name="T19" fmla="*/ 33 h 81"/>
                <a:gd name="T20" fmla="*/ 83 w 143"/>
                <a:gd name="T21" fmla="*/ 50 h 81"/>
                <a:gd name="T22" fmla="*/ 60 w 143"/>
                <a:gd name="T23" fmla="*/ 51 h 81"/>
                <a:gd name="T24" fmla="*/ 58 w 143"/>
                <a:gd name="T25" fmla="*/ 51 h 81"/>
                <a:gd name="T26" fmla="*/ 56 w 143"/>
                <a:gd name="T27" fmla="*/ 53 h 81"/>
                <a:gd name="T28" fmla="*/ 56 w 143"/>
                <a:gd name="T29" fmla="*/ 55 h 81"/>
                <a:gd name="T30" fmla="*/ 58 w 143"/>
                <a:gd name="T31" fmla="*/ 56 h 81"/>
                <a:gd name="T32" fmla="*/ 86 w 143"/>
                <a:gd name="T33" fmla="*/ 56 h 81"/>
                <a:gd name="T34" fmla="*/ 102 w 143"/>
                <a:gd name="T35" fmla="*/ 38 h 81"/>
                <a:gd name="T36" fmla="*/ 121 w 143"/>
                <a:gd name="T37" fmla="*/ 44 h 81"/>
                <a:gd name="T38" fmla="*/ 136 w 143"/>
                <a:gd name="T39" fmla="*/ 43 h 81"/>
                <a:gd name="T40" fmla="*/ 143 w 143"/>
                <a:gd name="T41" fmla="*/ 29 h 81"/>
                <a:gd name="T42" fmla="*/ 141 w 143"/>
                <a:gd name="T43" fmla="*/ 26 h 81"/>
                <a:gd name="T44" fmla="*/ 89 w 143"/>
                <a:gd name="T45" fmla="*/ 8 h 81"/>
                <a:gd name="T46" fmla="*/ 73 w 143"/>
                <a:gd name="T47" fmla="*/ 9 h 81"/>
                <a:gd name="T48" fmla="*/ 70 w 143"/>
                <a:gd name="T49" fmla="*/ 10 h 81"/>
                <a:gd name="T50" fmla="*/ 59 w 143"/>
                <a:gd name="T51" fmla="*/ 11 h 81"/>
                <a:gd name="T52" fmla="*/ 55 w 143"/>
                <a:gd name="T53" fmla="*/ 9 h 81"/>
                <a:gd name="T54" fmla="*/ 54 w 143"/>
                <a:gd name="T55" fmla="*/ 9 h 81"/>
                <a:gd name="T56" fmla="*/ 27 w 143"/>
                <a:gd name="T57" fmla="*/ 0 h 81"/>
                <a:gd name="T58" fmla="*/ 25 w 143"/>
                <a:gd name="T59" fmla="*/ 0 h 81"/>
                <a:gd name="T60" fmla="*/ 23 w 143"/>
                <a:gd name="T61" fmla="*/ 2 h 81"/>
                <a:gd name="T62" fmla="*/ 1 w 143"/>
                <a:gd name="T63" fmla="*/ 68 h 81"/>
                <a:gd name="T64" fmla="*/ 1 w 143"/>
                <a:gd name="T65" fmla="*/ 70 h 81"/>
                <a:gd name="T66" fmla="*/ 2 w 143"/>
                <a:gd name="T67" fmla="*/ 71 h 81"/>
                <a:gd name="T68" fmla="*/ 29 w 143"/>
                <a:gd name="T69" fmla="*/ 81 h 81"/>
                <a:gd name="T70" fmla="*/ 30 w 143"/>
                <a:gd name="T71" fmla="*/ 81 h 81"/>
                <a:gd name="T72" fmla="*/ 32 w 143"/>
                <a:gd name="T73" fmla="*/ 81 h 81"/>
                <a:gd name="T74" fmla="*/ 33 w 143"/>
                <a:gd name="T75" fmla="*/ 79 h 81"/>
                <a:gd name="T76" fmla="*/ 55 w 143"/>
                <a:gd name="T77" fmla="*/ 16 h 81"/>
                <a:gd name="T78" fmla="*/ 57 w 143"/>
                <a:gd name="T79" fmla="*/ 17 h 81"/>
                <a:gd name="T80" fmla="*/ 49 w 143"/>
                <a:gd name="T81" fmla="*/ 14 h 81"/>
                <a:gd name="T82" fmla="*/ 29 w 143"/>
                <a:gd name="T83" fmla="*/ 74 h 81"/>
                <a:gd name="T84" fmla="*/ 7 w 143"/>
                <a:gd name="T85" fmla="*/ 67 h 81"/>
                <a:gd name="T86" fmla="*/ 28 w 143"/>
                <a:gd name="T87" fmla="*/ 7 h 81"/>
                <a:gd name="T88" fmla="*/ 49 w 143"/>
                <a:gd name="T89" fmla="*/ 1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3" h="81">
                  <a:moveTo>
                    <a:pt x="57" y="17"/>
                  </a:moveTo>
                  <a:cubicBezTo>
                    <a:pt x="62" y="19"/>
                    <a:pt x="68" y="18"/>
                    <a:pt x="73" y="16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9" y="13"/>
                    <a:pt x="83" y="13"/>
                    <a:pt x="87" y="14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6" y="33"/>
                    <a:pt x="135" y="36"/>
                    <a:pt x="133" y="38"/>
                  </a:cubicBezTo>
                  <a:cubicBezTo>
                    <a:pt x="131" y="40"/>
                    <a:pt x="127" y="40"/>
                    <a:pt x="123" y="38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0" y="31"/>
                    <a:pt x="99" y="31"/>
                    <a:pt x="98" y="31"/>
                  </a:cubicBezTo>
                  <a:cubicBezTo>
                    <a:pt x="98" y="31"/>
                    <a:pt x="97" y="32"/>
                    <a:pt x="97" y="33"/>
                  </a:cubicBezTo>
                  <a:cubicBezTo>
                    <a:pt x="96" y="34"/>
                    <a:pt x="93" y="45"/>
                    <a:pt x="83" y="50"/>
                  </a:cubicBezTo>
                  <a:cubicBezTo>
                    <a:pt x="77" y="54"/>
                    <a:pt x="69" y="54"/>
                    <a:pt x="60" y="51"/>
                  </a:cubicBezTo>
                  <a:cubicBezTo>
                    <a:pt x="59" y="50"/>
                    <a:pt x="58" y="50"/>
                    <a:pt x="58" y="51"/>
                  </a:cubicBezTo>
                  <a:cubicBezTo>
                    <a:pt x="57" y="51"/>
                    <a:pt x="56" y="52"/>
                    <a:pt x="56" y="53"/>
                  </a:cubicBezTo>
                  <a:cubicBezTo>
                    <a:pt x="56" y="53"/>
                    <a:pt x="56" y="54"/>
                    <a:pt x="56" y="55"/>
                  </a:cubicBezTo>
                  <a:cubicBezTo>
                    <a:pt x="57" y="56"/>
                    <a:pt x="57" y="56"/>
                    <a:pt x="58" y="56"/>
                  </a:cubicBezTo>
                  <a:cubicBezTo>
                    <a:pt x="69" y="60"/>
                    <a:pt x="78" y="60"/>
                    <a:pt x="86" y="56"/>
                  </a:cubicBezTo>
                  <a:cubicBezTo>
                    <a:pt x="96" y="51"/>
                    <a:pt x="100" y="42"/>
                    <a:pt x="102" y="38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7" y="46"/>
                    <a:pt x="132" y="46"/>
                    <a:pt x="136" y="43"/>
                  </a:cubicBezTo>
                  <a:cubicBezTo>
                    <a:pt x="142" y="39"/>
                    <a:pt x="143" y="32"/>
                    <a:pt x="143" y="29"/>
                  </a:cubicBezTo>
                  <a:cubicBezTo>
                    <a:pt x="143" y="28"/>
                    <a:pt x="142" y="27"/>
                    <a:pt x="141" y="26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3" y="6"/>
                    <a:pt x="78" y="7"/>
                    <a:pt x="73" y="9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7" y="12"/>
                    <a:pt x="63" y="12"/>
                    <a:pt x="59" y="1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3" y="1"/>
                    <a:pt x="23" y="2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0" y="68"/>
                    <a:pt x="0" y="69"/>
                    <a:pt x="1" y="70"/>
                  </a:cubicBezTo>
                  <a:cubicBezTo>
                    <a:pt x="1" y="71"/>
                    <a:pt x="2" y="71"/>
                    <a:pt x="2" y="7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1" y="81"/>
                    <a:pt x="31" y="81"/>
                    <a:pt x="32" y="81"/>
                  </a:cubicBezTo>
                  <a:cubicBezTo>
                    <a:pt x="32" y="80"/>
                    <a:pt x="33" y="80"/>
                    <a:pt x="33" y="79"/>
                  </a:cubicBezTo>
                  <a:cubicBezTo>
                    <a:pt x="55" y="16"/>
                    <a:pt x="55" y="16"/>
                    <a:pt x="55" y="16"/>
                  </a:cubicBezTo>
                  <a:lnTo>
                    <a:pt x="57" y="17"/>
                  </a:lnTo>
                  <a:close/>
                  <a:moveTo>
                    <a:pt x="49" y="1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49" y="14"/>
                    <a:pt x="49" y="14"/>
                    <a:pt x="4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28">
              <a:extLst>
                <a:ext uri="{FF2B5EF4-FFF2-40B4-BE49-F238E27FC236}">
                  <a16:creationId xmlns:a16="http://schemas.microsoft.com/office/drawing/2014/main" id="{2D033253-9A50-4C67-8ED0-CF877C396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1801" y="2228851"/>
              <a:ext cx="527050" cy="436563"/>
            </a:xfrm>
            <a:custGeom>
              <a:avLst/>
              <a:gdLst>
                <a:gd name="T0" fmla="*/ 133 w 165"/>
                <a:gd name="T1" fmla="*/ 2 h 136"/>
                <a:gd name="T2" fmla="*/ 129 w 165"/>
                <a:gd name="T3" fmla="*/ 0 h 136"/>
                <a:gd name="T4" fmla="*/ 102 w 165"/>
                <a:gd name="T5" fmla="*/ 17 h 136"/>
                <a:gd name="T6" fmla="*/ 122 w 165"/>
                <a:gd name="T7" fmla="*/ 86 h 136"/>
                <a:gd name="T8" fmla="*/ 98 w 165"/>
                <a:gd name="T9" fmla="*/ 106 h 136"/>
                <a:gd name="T10" fmla="*/ 45 w 165"/>
                <a:gd name="T11" fmla="*/ 130 h 136"/>
                <a:gd name="T12" fmla="*/ 42 w 165"/>
                <a:gd name="T13" fmla="*/ 123 h 136"/>
                <a:gd name="T14" fmla="*/ 72 w 165"/>
                <a:gd name="T15" fmla="*/ 107 h 136"/>
                <a:gd name="T16" fmla="*/ 69 w 165"/>
                <a:gd name="T17" fmla="*/ 101 h 136"/>
                <a:gd name="T18" fmla="*/ 22 w 165"/>
                <a:gd name="T19" fmla="*/ 119 h 136"/>
                <a:gd name="T20" fmla="*/ 63 w 165"/>
                <a:gd name="T21" fmla="*/ 93 h 136"/>
                <a:gd name="T22" fmla="*/ 61 w 165"/>
                <a:gd name="T23" fmla="*/ 87 h 136"/>
                <a:gd name="T24" fmla="*/ 17 w 165"/>
                <a:gd name="T25" fmla="*/ 109 h 136"/>
                <a:gd name="T26" fmla="*/ 10 w 165"/>
                <a:gd name="T27" fmla="*/ 106 h 136"/>
                <a:gd name="T28" fmla="*/ 12 w 165"/>
                <a:gd name="T29" fmla="*/ 99 h 136"/>
                <a:gd name="T30" fmla="*/ 54 w 165"/>
                <a:gd name="T31" fmla="*/ 76 h 136"/>
                <a:gd name="T32" fmla="*/ 14 w 165"/>
                <a:gd name="T33" fmla="*/ 91 h 136"/>
                <a:gd name="T34" fmla="*/ 7 w 165"/>
                <a:gd name="T35" fmla="*/ 89 h 136"/>
                <a:gd name="T36" fmla="*/ 10 w 165"/>
                <a:gd name="T37" fmla="*/ 82 h 136"/>
                <a:gd name="T38" fmla="*/ 30 w 165"/>
                <a:gd name="T39" fmla="*/ 69 h 136"/>
                <a:gd name="T40" fmla="*/ 7 w 165"/>
                <a:gd name="T41" fmla="*/ 77 h 136"/>
                <a:gd name="T42" fmla="*/ 2 w 165"/>
                <a:gd name="T43" fmla="*/ 92 h 136"/>
                <a:gd name="T44" fmla="*/ 4 w 165"/>
                <a:gd name="T45" fmla="*/ 109 h 136"/>
                <a:gd name="T46" fmla="*/ 16 w 165"/>
                <a:gd name="T47" fmla="*/ 121 h 136"/>
                <a:gd name="T48" fmla="*/ 31 w 165"/>
                <a:gd name="T49" fmla="*/ 126 h 136"/>
                <a:gd name="T50" fmla="*/ 36 w 165"/>
                <a:gd name="T51" fmla="*/ 130 h 136"/>
                <a:gd name="T52" fmla="*/ 47 w 165"/>
                <a:gd name="T53" fmla="*/ 136 h 136"/>
                <a:gd name="T54" fmla="*/ 101 w 165"/>
                <a:gd name="T55" fmla="*/ 111 h 136"/>
                <a:gd name="T56" fmla="*/ 127 w 165"/>
                <a:gd name="T57" fmla="*/ 91 h 136"/>
                <a:gd name="T58" fmla="*/ 163 w 165"/>
                <a:gd name="T59" fmla="*/ 68 h 136"/>
                <a:gd name="T60" fmla="*/ 157 w 165"/>
                <a:gd name="T61" fmla="*/ 64 h 136"/>
                <a:gd name="T62" fmla="*/ 109 w 165"/>
                <a:gd name="T63" fmla="*/ 17 h 136"/>
                <a:gd name="T64" fmla="*/ 157 w 165"/>
                <a:gd name="T65" fmla="*/ 6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5" h="136">
                  <a:moveTo>
                    <a:pt x="164" y="64"/>
                  </a:moveTo>
                  <a:cubicBezTo>
                    <a:pt x="133" y="2"/>
                    <a:pt x="133" y="2"/>
                    <a:pt x="133" y="2"/>
                  </a:cubicBezTo>
                  <a:cubicBezTo>
                    <a:pt x="133" y="1"/>
                    <a:pt x="132" y="0"/>
                    <a:pt x="132" y="0"/>
                  </a:cubicBezTo>
                  <a:cubicBezTo>
                    <a:pt x="131" y="0"/>
                    <a:pt x="130" y="0"/>
                    <a:pt x="129" y="0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2" y="14"/>
                    <a:pt x="102" y="15"/>
                    <a:pt x="102" y="1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22" y="86"/>
                    <a:pt x="122" y="86"/>
                    <a:pt x="122" y="86"/>
                  </a:cubicBezTo>
                  <a:cubicBezTo>
                    <a:pt x="121" y="88"/>
                    <a:pt x="119" y="89"/>
                    <a:pt x="118" y="91"/>
                  </a:cubicBezTo>
                  <a:cubicBezTo>
                    <a:pt x="112" y="96"/>
                    <a:pt x="106" y="102"/>
                    <a:pt x="98" y="106"/>
                  </a:cubicBezTo>
                  <a:cubicBezTo>
                    <a:pt x="49" y="130"/>
                    <a:pt x="49" y="130"/>
                    <a:pt x="49" y="130"/>
                  </a:cubicBezTo>
                  <a:cubicBezTo>
                    <a:pt x="48" y="130"/>
                    <a:pt x="46" y="130"/>
                    <a:pt x="45" y="130"/>
                  </a:cubicBezTo>
                  <a:cubicBezTo>
                    <a:pt x="43" y="129"/>
                    <a:pt x="42" y="128"/>
                    <a:pt x="42" y="127"/>
                  </a:cubicBezTo>
                  <a:cubicBezTo>
                    <a:pt x="41" y="126"/>
                    <a:pt x="41" y="125"/>
                    <a:pt x="42" y="123"/>
                  </a:cubicBezTo>
                  <a:cubicBezTo>
                    <a:pt x="42" y="122"/>
                    <a:pt x="43" y="121"/>
                    <a:pt x="44" y="120"/>
                  </a:cubicBezTo>
                  <a:cubicBezTo>
                    <a:pt x="72" y="107"/>
                    <a:pt x="72" y="107"/>
                    <a:pt x="72" y="107"/>
                  </a:cubicBezTo>
                  <a:cubicBezTo>
                    <a:pt x="73" y="106"/>
                    <a:pt x="74" y="104"/>
                    <a:pt x="73" y="103"/>
                  </a:cubicBezTo>
                  <a:cubicBezTo>
                    <a:pt x="72" y="101"/>
                    <a:pt x="70" y="101"/>
                    <a:pt x="69" y="101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26" y="122"/>
                    <a:pt x="23" y="121"/>
                    <a:pt x="22" y="119"/>
                  </a:cubicBezTo>
                  <a:cubicBezTo>
                    <a:pt x="20" y="116"/>
                    <a:pt x="22" y="113"/>
                    <a:pt x="24" y="112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5" y="92"/>
                    <a:pt x="66" y="90"/>
                    <a:pt x="65" y="88"/>
                  </a:cubicBezTo>
                  <a:cubicBezTo>
                    <a:pt x="64" y="87"/>
                    <a:pt x="62" y="86"/>
                    <a:pt x="61" y="87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5" y="109"/>
                    <a:pt x="14" y="109"/>
                    <a:pt x="13" y="109"/>
                  </a:cubicBezTo>
                  <a:cubicBezTo>
                    <a:pt x="11" y="108"/>
                    <a:pt x="10" y="107"/>
                    <a:pt x="10" y="106"/>
                  </a:cubicBezTo>
                  <a:cubicBezTo>
                    <a:pt x="9" y="105"/>
                    <a:pt x="9" y="104"/>
                    <a:pt x="9" y="102"/>
                  </a:cubicBezTo>
                  <a:cubicBezTo>
                    <a:pt x="10" y="101"/>
                    <a:pt x="11" y="100"/>
                    <a:pt x="12" y="9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4" y="79"/>
                    <a:pt x="54" y="77"/>
                    <a:pt x="54" y="76"/>
                  </a:cubicBezTo>
                  <a:cubicBezTo>
                    <a:pt x="53" y="74"/>
                    <a:pt x="51" y="73"/>
                    <a:pt x="49" y="74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3" y="92"/>
                    <a:pt x="12" y="92"/>
                    <a:pt x="10" y="92"/>
                  </a:cubicBezTo>
                  <a:cubicBezTo>
                    <a:pt x="9" y="91"/>
                    <a:pt x="8" y="90"/>
                    <a:pt x="7" y="89"/>
                  </a:cubicBezTo>
                  <a:cubicBezTo>
                    <a:pt x="7" y="88"/>
                    <a:pt x="7" y="86"/>
                    <a:pt x="7" y="85"/>
                  </a:cubicBezTo>
                  <a:cubicBezTo>
                    <a:pt x="8" y="84"/>
                    <a:pt x="8" y="83"/>
                    <a:pt x="10" y="8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30" y="72"/>
                    <a:pt x="31" y="70"/>
                    <a:pt x="30" y="69"/>
                  </a:cubicBezTo>
                  <a:cubicBezTo>
                    <a:pt x="29" y="67"/>
                    <a:pt x="27" y="67"/>
                    <a:pt x="26" y="6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4" y="78"/>
                    <a:pt x="2" y="80"/>
                    <a:pt x="1" y="83"/>
                  </a:cubicBezTo>
                  <a:cubicBezTo>
                    <a:pt x="0" y="86"/>
                    <a:pt x="1" y="89"/>
                    <a:pt x="2" y="92"/>
                  </a:cubicBezTo>
                  <a:cubicBezTo>
                    <a:pt x="3" y="94"/>
                    <a:pt x="4" y="95"/>
                    <a:pt x="6" y="96"/>
                  </a:cubicBezTo>
                  <a:cubicBezTo>
                    <a:pt x="3" y="100"/>
                    <a:pt x="2" y="105"/>
                    <a:pt x="4" y="109"/>
                  </a:cubicBezTo>
                  <a:cubicBezTo>
                    <a:pt x="6" y="113"/>
                    <a:pt x="11" y="115"/>
                    <a:pt x="15" y="115"/>
                  </a:cubicBezTo>
                  <a:cubicBezTo>
                    <a:pt x="15" y="117"/>
                    <a:pt x="15" y="119"/>
                    <a:pt x="16" y="121"/>
                  </a:cubicBezTo>
                  <a:cubicBezTo>
                    <a:pt x="18" y="125"/>
                    <a:pt x="22" y="128"/>
                    <a:pt x="26" y="128"/>
                  </a:cubicBezTo>
                  <a:cubicBezTo>
                    <a:pt x="28" y="128"/>
                    <a:pt x="30" y="127"/>
                    <a:pt x="31" y="126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5" y="126"/>
                    <a:pt x="36" y="128"/>
                    <a:pt x="36" y="130"/>
                  </a:cubicBezTo>
                  <a:cubicBezTo>
                    <a:pt x="38" y="133"/>
                    <a:pt x="40" y="135"/>
                    <a:pt x="43" y="136"/>
                  </a:cubicBezTo>
                  <a:cubicBezTo>
                    <a:pt x="44" y="136"/>
                    <a:pt x="45" y="136"/>
                    <a:pt x="47" y="136"/>
                  </a:cubicBezTo>
                  <a:cubicBezTo>
                    <a:pt x="48" y="136"/>
                    <a:pt x="50" y="136"/>
                    <a:pt x="52" y="135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10" y="107"/>
                    <a:pt x="115" y="101"/>
                    <a:pt x="122" y="95"/>
                  </a:cubicBezTo>
                  <a:cubicBezTo>
                    <a:pt x="123" y="94"/>
                    <a:pt x="125" y="92"/>
                    <a:pt x="127" y="91"/>
                  </a:cubicBezTo>
                  <a:cubicBezTo>
                    <a:pt x="138" y="81"/>
                    <a:pt x="138" y="81"/>
                    <a:pt x="138" y="81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4" y="67"/>
                    <a:pt x="165" y="66"/>
                    <a:pt x="164" y="64"/>
                  </a:cubicBezTo>
                  <a:close/>
                  <a:moveTo>
                    <a:pt x="157" y="64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09" y="17"/>
                    <a:pt x="109" y="17"/>
                    <a:pt x="109" y="17"/>
                  </a:cubicBezTo>
                  <a:cubicBezTo>
                    <a:pt x="129" y="7"/>
                    <a:pt x="129" y="7"/>
                    <a:pt x="129" y="7"/>
                  </a:cubicBezTo>
                  <a:lnTo>
                    <a:pt x="157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059E7B29-519B-4DB9-BE1F-A3DB872028C4}"/>
              </a:ext>
            </a:extLst>
          </p:cNvPr>
          <p:cNvGrpSpPr/>
          <p:nvPr/>
        </p:nvGrpSpPr>
        <p:grpSpPr>
          <a:xfrm>
            <a:off x="348915" y="994210"/>
            <a:ext cx="9180095" cy="446471"/>
            <a:chOff x="10895904" y="10482274"/>
            <a:chExt cx="2448487" cy="1982028"/>
          </a:xfrm>
          <a:solidFill>
            <a:schemeClr val="tx1"/>
          </a:solidFill>
        </p:grpSpPr>
        <p:sp>
          <p:nvSpPr>
            <p:cNvPr id="134" name="Speech Bubble: Rectangle with Corners Rounded 133">
              <a:extLst>
                <a:ext uri="{FF2B5EF4-FFF2-40B4-BE49-F238E27FC236}">
                  <a16:creationId xmlns:a16="http://schemas.microsoft.com/office/drawing/2014/main" id="{1399C475-6AB8-4E36-9286-9DB97EF7E3F9}"/>
                </a:ext>
              </a:extLst>
            </p:cNvPr>
            <p:cNvSpPr/>
            <p:nvPr/>
          </p:nvSpPr>
          <p:spPr>
            <a:xfrm>
              <a:off x="10895904" y="10682105"/>
              <a:ext cx="2448487" cy="1782197"/>
            </a:xfrm>
            <a:prstGeom prst="wedgeRoundRectCallout">
              <a:avLst>
                <a:gd name="adj1" fmla="val -18802"/>
                <a:gd name="adj2" fmla="val -49537"/>
                <a:gd name="adj3" fmla="val 16667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1E4190E-0260-41D5-84F0-E283410459FF}"/>
                </a:ext>
              </a:extLst>
            </p:cNvPr>
            <p:cNvSpPr txBox="1"/>
            <p:nvPr/>
          </p:nvSpPr>
          <p:spPr>
            <a:xfrm>
              <a:off x="10895904" y="10482274"/>
              <a:ext cx="2448062" cy="17762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endParaRPr lang="en-AU" sz="1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endParaRPr>
            </a:p>
            <a:p>
              <a:pPr algn="ctr">
                <a:spcAft>
                  <a:spcPts val="600"/>
                </a:spcAft>
              </a:pPr>
              <a:r>
                <a:rPr lang="en-AU" sz="1400" b="1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There are four simple steps to get your child into kinder, and lots of people to help you along the way!</a:t>
              </a:r>
              <a:endParaRPr lang="en-AU" sz="1600" b="1">
                <a:solidFill>
                  <a:schemeClr val="tx2"/>
                </a:solidFill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18BB0BD7-8B37-4293-864C-E4146B542556}"/>
              </a:ext>
            </a:extLst>
          </p:cNvPr>
          <p:cNvSpPr/>
          <p:nvPr/>
        </p:nvSpPr>
        <p:spPr>
          <a:xfrm>
            <a:off x="3176" y="-22744"/>
            <a:ext cx="9902824" cy="863558"/>
          </a:xfrm>
          <a:prstGeom prst="rect">
            <a:avLst/>
          </a:pr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>
                <a:solidFill>
                  <a:schemeClr val="tx2"/>
                </a:solidFill>
                <a:highlight>
                  <a:srgbClr val="FFFF00"/>
                </a:highlight>
              </a:rPr>
              <a:t>Council branding here</a:t>
            </a:r>
          </a:p>
        </p:txBody>
      </p:sp>
      <p:sp>
        <p:nvSpPr>
          <p:cNvPr id="138" name="Title 1">
            <a:extLst>
              <a:ext uri="{FF2B5EF4-FFF2-40B4-BE49-F238E27FC236}">
                <a16:creationId xmlns:a16="http://schemas.microsoft.com/office/drawing/2014/main" id="{CB8399B2-D6B5-4E04-8011-719E1A170B50}"/>
              </a:ext>
            </a:extLst>
          </p:cNvPr>
          <p:cNvSpPr txBox="1">
            <a:spLocks/>
          </p:cNvSpPr>
          <p:nvPr/>
        </p:nvSpPr>
        <p:spPr>
          <a:xfrm>
            <a:off x="492106" y="252469"/>
            <a:ext cx="9202632" cy="49511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905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83" b="1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n-AU">
                <a:solidFill>
                  <a:schemeClr val="tx2"/>
                </a:solidFill>
              </a:rPr>
              <a:t>KINDERGARTEN IN [</a:t>
            </a:r>
            <a:r>
              <a:rPr lang="en-AU">
                <a:solidFill>
                  <a:schemeClr val="tx2"/>
                </a:solidFill>
                <a:highlight>
                  <a:srgbClr val="FFFF00"/>
                </a:highlight>
              </a:rPr>
              <a:t>LGA NAME</a:t>
            </a:r>
            <a:r>
              <a:rPr lang="en-AU">
                <a:solidFill>
                  <a:schemeClr val="tx2"/>
                </a:solidFill>
              </a:rPr>
              <a:t>]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EA3B2FB-F585-4FD9-B53D-F621B6ADEF35}"/>
              </a:ext>
            </a:extLst>
          </p:cNvPr>
          <p:cNvGrpSpPr>
            <a:grpSpLocks noChangeAspect="1"/>
          </p:cNvGrpSpPr>
          <p:nvPr/>
        </p:nvGrpSpPr>
        <p:grpSpPr>
          <a:xfrm>
            <a:off x="404324" y="4779251"/>
            <a:ext cx="311696" cy="288000"/>
            <a:chOff x="1785938" y="4398963"/>
            <a:chExt cx="542925" cy="501650"/>
          </a:xfrm>
          <a:solidFill>
            <a:schemeClr val="tx2"/>
          </a:solidFill>
        </p:grpSpPr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B89AC0D8-6F86-40E6-AD99-588DACD78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8A31AE70-C123-4D66-B69D-AA2FFC482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86310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22C58ABB-FB68-44EB-8021-EC1329C81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6C26A84F-26E5-4B76-B6BA-52B8EA6EC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02175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04C20CD0-857F-4588-B2F1-5F276D387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6298F326-2584-4723-B8D3-B86A2340D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CA063F2C-47E0-4111-AF01-F3BBE7A7A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02175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0238CEBA-4CF4-4409-8C68-70E9FEBE0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8CFFED29-84F0-49A8-842E-B55A57FA92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5938" y="4398963"/>
              <a:ext cx="542925" cy="501650"/>
            </a:xfrm>
            <a:custGeom>
              <a:avLst/>
              <a:gdLst>
                <a:gd name="T0" fmla="*/ 154 w 170"/>
                <a:gd name="T1" fmla="*/ 7 h 157"/>
                <a:gd name="T2" fmla="*/ 139 w 170"/>
                <a:gd name="T3" fmla="*/ 7 h 157"/>
                <a:gd name="T4" fmla="*/ 139 w 170"/>
                <a:gd name="T5" fmla="*/ 4 h 157"/>
                <a:gd name="T6" fmla="*/ 135 w 170"/>
                <a:gd name="T7" fmla="*/ 0 h 157"/>
                <a:gd name="T8" fmla="*/ 132 w 170"/>
                <a:gd name="T9" fmla="*/ 4 h 157"/>
                <a:gd name="T10" fmla="*/ 132 w 170"/>
                <a:gd name="T11" fmla="*/ 7 h 157"/>
                <a:gd name="T12" fmla="*/ 37 w 170"/>
                <a:gd name="T13" fmla="*/ 7 h 157"/>
                <a:gd name="T14" fmla="*/ 37 w 170"/>
                <a:gd name="T15" fmla="*/ 4 h 157"/>
                <a:gd name="T16" fmla="*/ 35 w 170"/>
                <a:gd name="T17" fmla="*/ 0 h 157"/>
                <a:gd name="T18" fmla="*/ 31 w 170"/>
                <a:gd name="T19" fmla="*/ 4 h 157"/>
                <a:gd name="T20" fmla="*/ 31 w 170"/>
                <a:gd name="T21" fmla="*/ 7 h 157"/>
                <a:gd name="T22" fmla="*/ 15 w 170"/>
                <a:gd name="T23" fmla="*/ 7 h 157"/>
                <a:gd name="T24" fmla="*/ 0 w 170"/>
                <a:gd name="T25" fmla="*/ 22 h 157"/>
                <a:gd name="T26" fmla="*/ 0 w 170"/>
                <a:gd name="T27" fmla="*/ 143 h 157"/>
                <a:gd name="T28" fmla="*/ 15 w 170"/>
                <a:gd name="T29" fmla="*/ 157 h 157"/>
                <a:gd name="T30" fmla="*/ 154 w 170"/>
                <a:gd name="T31" fmla="*/ 157 h 157"/>
                <a:gd name="T32" fmla="*/ 170 w 170"/>
                <a:gd name="T33" fmla="*/ 143 h 157"/>
                <a:gd name="T34" fmla="*/ 170 w 170"/>
                <a:gd name="T35" fmla="*/ 22 h 157"/>
                <a:gd name="T36" fmla="*/ 154 w 170"/>
                <a:gd name="T37" fmla="*/ 7 h 157"/>
                <a:gd name="T38" fmla="*/ 163 w 170"/>
                <a:gd name="T39" fmla="*/ 143 h 157"/>
                <a:gd name="T40" fmla="*/ 154 w 170"/>
                <a:gd name="T41" fmla="*/ 151 h 157"/>
                <a:gd name="T42" fmla="*/ 15 w 170"/>
                <a:gd name="T43" fmla="*/ 151 h 157"/>
                <a:gd name="T44" fmla="*/ 7 w 170"/>
                <a:gd name="T45" fmla="*/ 143 h 157"/>
                <a:gd name="T46" fmla="*/ 7 w 170"/>
                <a:gd name="T47" fmla="*/ 52 h 157"/>
                <a:gd name="T48" fmla="*/ 163 w 170"/>
                <a:gd name="T49" fmla="*/ 52 h 157"/>
                <a:gd name="T50" fmla="*/ 163 w 170"/>
                <a:gd name="T51" fmla="*/ 143 h 157"/>
                <a:gd name="T52" fmla="*/ 163 w 170"/>
                <a:gd name="T53" fmla="*/ 143 h 157"/>
                <a:gd name="T54" fmla="*/ 163 w 170"/>
                <a:gd name="T55" fmla="*/ 46 h 157"/>
                <a:gd name="T56" fmla="*/ 7 w 170"/>
                <a:gd name="T57" fmla="*/ 46 h 157"/>
                <a:gd name="T58" fmla="*/ 7 w 170"/>
                <a:gd name="T59" fmla="*/ 22 h 157"/>
                <a:gd name="T60" fmla="*/ 15 w 170"/>
                <a:gd name="T61" fmla="*/ 14 h 157"/>
                <a:gd name="T62" fmla="*/ 31 w 170"/>
                <a:gd name="T63" fmla="*/ 14 h 157"/>
                <a:gd name="T64" fmla="*/ 31 w 170"/>
                <a:gd name="T65" fmla="*/ 19 h 157"/>
                <a:gd name="T66" fmla="*/ 35 w 170"/>
                <a:gd name="T67" fmla="*/ 22 h 157"/>
                <a:gd name="T68" fmla="*/ 37 w 170"/>
                <a:gd name="T69" fmla="*/ 19 h 157"/>
                <a:gd name="T70" fmla="*/ 37 w 170"/>
                <a:gd name="T71" fmla="*/ 14 h 157"/>
                <a:gd name="T72" fmla="*/ 132 w 170"/>
                <a:gd name="T73" fmla="*/ 14 h 157"/>
                <a:gd name="T74" fmla="*/ 132 w 170"/>
                <a:gd name="T75" fmla="*/ 19 h 157"/>
                <a:gd name="T76" fmla="*/ 135 w 170"/>
                <a:gd name="T77" fmla="*/ 22 h 157"/>
                <a:gd name="T78" fmla="*/ 139 w 170"/>
                <a:gd name="T79" fmla="*/ 19 h 157"/>
                <a:gd name="T80" fmla="*/ 139 w 170"/>
                <a:gd name="T81" fmla="*/ 14 h 157"/>
                <a:gd name="T82" fmla="*/ 154 w 170"/>
                <a:gd name="T83" fmla="*/ 14 h 157"/>
                <a:gd name="T84" fmla="*/ 163 w 170"/>
                <a:gd name="T85" fmla="*/ 22 h 157"/>
                <a:gd name="T86" fmla="*/ 163 w 170"/>
                <a:gd name="T87" fmla="*/ 46 h 157"/>
                <a:gd name="T88" fmla="*/ 163 w 170"/>
                <a:gd name="T89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0" h="157">
                  <a:moveTo>
                    <a:pt x="154" y="7"/>
                  </a:moveTo>
                  <a:cubicBezTo>
                    <a:pt x="139" y="7"/>
                    <a:pt x="139" y="7"/>
                    <a:pt x="139" y="7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2"/>
                    <a:pt x="137" y="0"/>
                    <a:pt x="135" y="0"/>
                  </a:cubicBezTo>
                  <a:cubicBezTo>
                    <a:pt x="134" y="0"/>
                    <a:pt x="132" y="2"/>
                    <a:pt x="132" y="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2"/>
                    <a:pt x="36" y="0"/>
                    <a:pt x="35" y="0"/>
                  </a:cubicBezTo>
                  <a:cubicBezTo>
                    <a:pt x="33" y="0"/>
                    <a:pt x="31" y="2"/>
                    <a:pt x="31" y="4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7" y="7"/>
                    <a:pt x="0" y="14"/>
                    <a:pt x="0" y="22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51"/>
                    <a:pt x="7" y="157"/>
                    <a:pt x="15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63" y="157"/>
                    <a:pt x="170" y="151"/>
                    <a:pt x="170" y="143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70" y="14"/>
                    <a:pt x="163" y="7"/>
                    <a:pt x="154" y="7"/>
                  </a:cubicBezTo>
                  <a:close/>
                  <a:moveTo>
                    <a:pt x="163" y="143"/>
                  </a:moveTo>
                  <a:cubicBezTo>
                    <a:pt x="163" y="147"/>
                    <a:pt x="159" y="151"/>
                    <a:pt x="154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0" y="151"/>
                    <a:pt x="7" y="147"/>
                    <a:pt x="7" y="143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143"/>
                    <a:pt x="163" y="143"/>
                    <a:pt x="163" y="143"/>
                  </a:cubicBezTo>
                  <a:cubicBezTo>
                    <a:pt x="163" y="143"/>
                    <a:pt x="163" y="143"/>
                    <a:pt x="163" y="143"/>
                  </a:cubicBezTo>
                  <a:close/>
                  <a:moveTo>
                    <a:pt x="163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8"/>
                    <a:pt x="10" y="14"/>
                    <a:pt x="15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3" y="22"/>
                    <a:pt x="35" y="22"/>
                  </a:cubicBezTo>
                  <a:cubicBezTo>
                    <a:pt x="36" y="22"/>
                    <a:pt x="37" y="20"/>
                    <a:pt x="37" y="1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4" y="22"/>
                    <a:pt x="135" y="22"/>
                  </a:cubicBezTo>
                  <a:cubicBezTo>
                    <a:pt x="137" y="22"/>
                    <a:pt x="139" y="20"/>
                    <a:pt x="139" y="19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9" y="14"/>
                    <a:pt x="163" y="18"/>
                    <a:pt x="163" y="22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3" y="46"/>
                    <a:pt x="163" y="46"/>
                    <a:pt x="163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900BF25C-88EF-4D98-BC79-B0004D800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2172411E-A15F-4817-AFC2-98DA28530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02175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96796C2C-B48F-4377-9528-8767FBFCA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2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D4D510D0-D0C9-4AC7-BE7C-413AB4F79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603B8AD5-310C-4A53-A67F-D5DCB166B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F15CFF87-32CD-4877-8DAC-F051382EB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7" y="4702175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F33841A1-D288-4F1F-B532-95CF1707B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7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4853BD60-A6CA-4B4E-801E-8EA263A7A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2" y="4702175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9B64F22-C8D9-4471-BE62-DE6A425F17E6}"/>
              </a:ext>
            </a:extLst>
          </p:cNvPr>
          <p:cNvGrpSpPr>
            <a:grpSpLocks noChangeAspect="1"/>
          </p:cNvGrpSpPr>
          <p:nvPr/>
        </p:nvGrpSpPr>
        <p:grpSpPr>
          <a:xfrm>
            <a:off x="5206297" y="3919924"/>
            <a:ext cx="311696" cy="288000"/>
            <a:chOff x="1785938" y="4398963"/>
            <a:chExt cx="542925" cy="501650"/>
          </a:xfrm>
          <a:solidFill>
            <a:schemeClr val="tx2"/>
          </a:solidFill>
        </p:grpSpPr>
        <p:sp>
          <p:nvSpPr>
            <p:cNvPr id="92" name="Freeform 71">
              <a:extLst>
                <a:ext uri="{FF2B5EF4-FFF2-40B4-BE49-F238E27FC236}">
                  <a16:creationId xmlns:a16="http://schemas.microsoft.com/office/drawing/2014/main" id="{8565762E-28F7-4E15-91D1-E8F396C18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72">
              <a:extLst>
                <a:ext uri="{FF2B5EF4-FFF2-40B4-BE49-F238E27FC236}">
                  <a16:creationId xmlns:a16="http://schemas.microsoft.com/office/drawing/2014/main" id="{EFD70C6F-0B17-4204-9769-4119DDDA3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73">
              <a:extLst>
                <a:ext uri="{FF2B5EF4-FFF2-40B4-BE49-F238E27FC236}">
                  <a16:creationId xmlns:a16="http://schemas.microsoft.com/office/drawing/2014/main" id="{8C2D97DE-5E29-4351-9A49-8234D896D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74">
              <a:extLst>
                <a:ext uri="{FF2B5EF4-FFF2-40B4-BE49-F238E27FC236}">
                  <a16:creationId xmlns:a16="http://schemas.microsoft.com/office/drawing/2014/main" id="{2786FDE7-E2B4-4779-AC1A-C5976F9D8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Freeform 75">
              <a:extLst>
                <a:ext uri="{FF2B5EF4-FFF2-40B4-BE49-F238E27FC236}">
                  <a16:creationId xmlns:a16="http://schemas.microsoft.com/office/drawing/2014/main" id="{D9A50536-4278-4E2F-BC18-452766AAB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76">
              <a:extLst>
                <a:ext uri="{FF2B5EF4-FFF2-40B4-BE49-F238E27FC236}">
                  <a16:creationId xmlns:a16="http://schemas.microsoft.com/office/drawing/2014/main" id="{A0609812-1450-4BD7-9420-FB1BCE722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77">
              <a:extLst>
                <a:ext uri="{FF2B5EF4-FFF2-40B4-BE49-F238E27FC236}">
                  <a16:creationId xmlns:a16="http://schemas.microsoft.com/office/drawing/2014/main" id="{3F609461-4ECF-4A4E-B54D-171953169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Freeform 78">
              <a:extLst>
                <a:ext uri="{FF2B5EF4-FFF2-40B4-BE49-F238E27FC236}">
                  <a16:creationId xmlns:a16="http://schemas.microsoft.com/office/drawing/2014/main" id="{4221B5ED-D142-4211-A2EC-3CF64D287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79">
              <a:extLst>
                <a:ext uri="{FF2B5EF4-FFF2-40B4-BE49-F238E27FC236}">
                  <a16:creationId xmlns:a16="http://schemas.microsoft.com/office/drawing/2014/main" id="{8BE5CB5E-C453-402E-80E2-2E4842422C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5938" y="4398963"/>
              <a:ext cx="542925" cy="501650"/>
            </a:xfrm>
            <a:custGeom>
              <a:avLst/>
              <a:gdLst>
                <a:gd name="T0" fmla="*/ 154 w 170"/>
                <a:gd name="T1" fmla="*/ 7 h 157"/>
                <a:gd name="T2" fmla="*/ 139 w 170"/>
                <a:gd name="T3" fmla="*/ 7 h 157"/>
                <a:gd name="T4" fmla="*/ 139 w 170"/>
                <a:gd name="T5" fmla="*/ 4 h 157"/>
                <a:gd name="T6" fmla="*/ 135 w 170"/>
                <a:gd name="T7" fmla="*/ 0 h 157"/>
                <a:gd name="T8" fmla="*/ 132 w 170"/>
                <a:gd name="T9" fmla="*/ 4 h 157"/>
                <a:gd name="T10" fmla="*/ 132 w 170"/>
                <a:gd name="T11" fmla="*/ 7 h 157"/>
                <a:gd name="T12" fmla="*/ 37 w 170"/>
                <a:gd name="T13" fmla="*/ 7 h 157"/>
                <a:gd name="T14" fmla="*/ 37 w 170"/>
                <a:gd name="T15" fmla="*/ 4 h 157"/>
                <a:gd name="T16" fmla="*/ 35 w 170"/>
                <a:gd name="T17" fmla="*/ 0 h 157"/>
                <a:gd name="T18" fmla="*/ 31 w 170"/>
                <a:gd name="T19" fmla="*/ 4 h 157"/>
                <a:gd name="T20" fmla="*/ 31 w 170"/>
                <a:gd name="T21" fmla="*/ 7 h 157"/>
                <a:gd name="T22" fmla="*/ 15 w 170"/>
                <a:gd name="T23" fmla="*/ 7 h 157"/>
                <a:gd name="T24" fmla="*/ 0 w 170"/>
                <a:gd name="T25" fmla="*/ 22 h 157"/>
                <a:gd name="T26" fmla="*/ 0 w 170"/>
                <a:gd name="T27" fmla="*/ 143 h 157"/>
                <a:gd name="T28" fmla="*/ 15 w 170"/>
                <a:gd name="T29" fmla="*/ 157 h 157"/>
                <a:gd name="T30" fmla="*/ 154 w 170"/>
                <a:gd name="T31" fmla="*/ 157 h 157"/>
                <a:gd name="T32" fmla="*/ 170 w 170"/>
                <a:gd name="T33" fmla="*/ 143 h 157"/>
                <a:gd name="T34" fmla="*/ 170 w 170"/>
                <a:gd name="T35" fmla="*/ 22 h 157"/>
                <a:gd name="T36" fmla="*/ 154 w 170"/>
                <a:gd name="T37" fmla="*/ 7 h 157"/>
                <a:gd name="T38" fmla="*/ 163 w 170"/>
                <a:gd name="T39" fmla="*/ 143 h 157"/>
                <a:gd name="T40" fmla="*/ 154 w 170"/>
                <a:gd name="T41" fmla="*/ 151 h 157"/>
                <a:gd name="T42" fmla="*/ 15 w 170"/>
                <a:gd name="T43" fmla="*/ 151 h 157"/>
                <a:gd name="T44" fmla="*/ 7 w 170"/>
                <a:gd name="T45" fmla="*/ 143 h 157"/>
                <a:gd name="T46" fmla="*/ 7 w 170"/>
                <a:gd name="T47" fmla="*/ 52 h 157"/>
                <a:gd name="T48" fmla="*/ 163 w 170"/>
                <a:gd name="T49" fmla="*/ 52 h 157"/>
                <a:gd name="T50" fmla="*/ 163 w 170"/>
                <a:gd name="T51" fmla="*/ 143 h 157"/>
                <a:gd name="T52" fmla="*/ 163 w 170"/>
                <a:gd name="T53" fmla="*/ 143 h 157"/>
                <a:gd name="T54" fmla="*/ 163 w 170"/>
                <a:gd name="T55" fmla="*/ 46 h 157"/>
                <a:gd name="T56" fmla="*/ 7 w 170"/>
                <a:gd name="T57" fmla="*/ 46 h 157"/>
                <a:gd name="T58" fmla="*/ 7 w 170"/>
                <a:gd name="T59" fmla="*/ 22 h 157"/>
                <a:gd name="T60" fmla="*/ 15 w 170"/>
                <a:gd name="T61" fmla="*/ 14 h 157"/>
                <a:gd name="T62" fmla="*/ 31 w 170"/>
                <a:gd name="T63" fmla="*/ 14 h 157"/>
                <a:gd name="T64" fmla="*/ 31 w 170"/>
                <a:gd name="T65" fmla="*/ 19 h 157"/>
                <a:gd name="T66" fmla="*/ 35 w 170"/>
                <a:gd name="T67" fmla="*/ 22 h 157"/>
                <a:gd name="T68" fmla="*/ 37 w 170"/>
                <a:gd name="T69" fmla="*/ 19 h 157"/>
                <a:gd name="T70" fmla="*/ 37 w 170"/>
                <a:gd name="T71" fmla="*/ 14 h 157"/>
                <a:gd name="T72" fmla="*/ 132 w 170"/>
                <a:gd name="T73" fmla="*/ 14 h 157"/>
                <a:gd name="T74" fmla="*/ 132 w 170"/>
                <a:gd name="T75" fmla="*/ 19 h 157"/>
                <a:gd name="T76" fmla="*/ 135 w 170"/>
                <a:gd name="T77" fmla="*/ 22 h 157"/>
                <a:gd name="T78" fmla="*/ 139 w 170"/>
                <a:gd name="T79" fmla="*/ 19 h 157"/>
                <a:gd name="T80" fmla="*/ 139 w 170"/>
                <a:gd name="T81" fmla="*/ 14 h 157"/>
                <a:gd name="T82" fmla="*/ 154 w 170"/>
                <a:gd name="T83" fmla="*/ 14 h 157"/>
                <a:gd name="T84" fmla="*/ 163 w 170"/>
                <a:gd name="T85" fmla="*/ 22 h 157"/>
                <a:gd name="T86" fmla="*/ 163 w 170"/>
                <a:gd name="T87" fmla="*/ 46 h 157"/>
                <a:gd name="T88" fmla="*/ 163 w 170"/>
                <a:gd name="T89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0" h="157">
                  <a:moveTo>
                    <a:pt x="154" y="7"/>
                  </a:moveTo>
                  <a:cubicBezTo>
                    <a:pt x="139" y="7"/>
                    <a:pt x="139" y="7"/>
                    <a:pt x="139" y="7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2"/>
                    <a:pt x="137" y="0"/>
                    <a:pt x="135" y="0"/>
                  </a:cubicBezTo>
                  <a:cubicBezTo>
                    <a:pt x="134" y="0"/>
                    <a:pt x="132" y="2"/>
                    <a:pt x="132" y="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2"/>
                    <a:pt x="36" y="0"/>
                    <a:pt x="35" y="0"/>
                  </a:cubicBezTo>
                  <a:cubicBezTo>
                    <a:pt x="33" y="0"/>
                    <a:pt x="31" y="2"/>
                    <a:pt x="31" y="4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7" y="7"/>
                    <a:pt x="0" y="14"/>
                    <a:pt x="0" y="22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51"/>
                    <a:pt x="7" y="157"/>
                    <a:pt x="15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63" y="157"/>
                    <a:pt x="170" y="151"/>
                    <a:pt x="170" y="143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70" y="14"/>
                    <a:pt x="163" y="7"/>
                    <a:pt x="154" y="7"/>
                  </a:cubicBezTo>
                  <a:close/>
                  <a:moveTo>
                    <a:pt x="163" y="143"/>
                  </a:moveTo>
                  <a:cubicBezTo>
                    <a:pt x="163" y="147"/>
                    <a:pt x="159" y="151"/>
                    <a:pt x="154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0" y="151"/>
                    <a:pt x="7" y="147"/>
                    <a:pt x="7" y="143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143"/>
                    <a:pt x="163" y="143"/>
                    <a:pt x="163" y="143"/>
                  </a:cubicBezTo>
                  <a:cubicBezTo>
                    <a:pt x="163" y="143"/>
                    <a:pt x="163" y="143"/>
                    <a:pt x="163" y="143"/>
                  </a:cubicBezTo>
                  <a:close/>
                  <a:moveTo>
                    <a:pt x="163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8"/>
                    <a:pt x="10" y="14"/>
                    <a:pt x="15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3" y="22"/>
                    <a:pt x="35" y="22"/>
                  </a:cubicBezTo>
                  <a:cubicBezTo>
                    <a:pt x="36" y="22"/>
                    <a:pt x="37" y="20"/>
                    <a:pt x="37" y="1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4" y="22"/>
                    <a:pt x="135" y="22"/>
                  </a:cubicBezTo>
                  <a:cubicBezTo>
                    <a:pt x="137" y="22"/>
                    <a:pt x="139" y="20"/>
                    <a:pt x="139" y="19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9" y="14"/>
                    <a:pt x="163" y="18"/>
                    <a:pt x="163" y="22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3" y="46"/>
                    <a:pt x="163" y="46"/>
                    <a:pt x="163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80">
              <a:extLst>
                <a:ext uri="{FF2B5EF4-FFF2-40B4-BE49-F238E27FC236}">
                  <a16:creationId xmlns:a16="http://schemas.microsoft.com/office/drawing/2014/main" id="{4CEB5CD6-7102-453A-9FE8-863ADBE50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81">
              <a:extLst>
                <a:ext uri="{FF2B5EF4-FFF2-40B4-BE49-F238E27FC236}">
                  <a16:creationId xmlns:a16="http://schemas.microsoft.com/office/drawing/2014/main" id="{83B0DB54-6979-4342-80F8-EC72F2E9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82">
              <a:extLst>
                <a:ext uri="{FF2B5EF4-FFF2-40B4-BE49-F238E27FC236}">
                  <a16:creationId xmlns:a16="http://schemas.microsoft.com/office/drawing/2014/main" id="{6B09F9EE-BBBD-421A-AFD9-FC84C80C7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83">
              <a:extLst>
                <a:ext uri="{FF2B5EF4-FFF2-40B4-BE49-F238E27FC236}">
                  <a16:creationId xmlns:a16="http://schemas.microsoft.com/office/drawing/2014/main" id="{2C8FC8FA-24CC-4A53-91F0-261760509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84">
              <a:extLst>
                <a:ext uri="{FF2B5EF4-FFF2-40B4-BE49-F238E27FC236}">
                  <a16:creationId xmlns:a16="http://schemas.microsoft.com/office/drawing/2014/main" id="{3AECE4FC-E1E4-42CE-8FE8-87AC294B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85">
              <a:extLst>
                <a:ext uri="{FF2B5EF4-FFF2-40B4-BE49-F238E27FC236}">
                  <a16:creationId xmlns:a16="http://schemas.microsoft.com/office/drawing/2014/main" id="{6327E5D4-2129-42F1-BB91-124793034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86">
              <a:extLst>
                <a:ext uri="{FF2B5EF4-FFF2-40B4-BE49-F238E27FC236}">
                  <a16:creationId xmlns:a16="http://schemas.microsoft.com/office/drawing/2014/main" id="{A55E25B0-F802-44CB-B34F-BFC4CA773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87">
              <a:extLst>
                <a:ext uri="{FF2B5EF4-FFF2-40B4-BE49-F238E27FC236}">
                  <a16:creationId xmlns:a16="http://schemas.microsoft.com/office/drawing/2014/main" id="{53922B89-DFAF-48A6-90FA-96611846A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AB9A736-5921-4F88-9776-7A5B86E4C0A2}"/>
              </a:ext>
            </a:extLst>
          </p:cNvPr>
          <p:cNvGrpSpPr/>
          <p:nvPr/>
        </p:nvGrpSpPr>
        <p:grpSpPr>
          <a:xfrm>
            <a:off x="4728060" y="5661768"/>
            <a:ext cx="4852625" cy="908429"/>
            <a:chOff x="4674791" y="5668146"/>
            <a:chExt cx="4852625" cy="908429"/>
          </a:xfrm>
        </p:grpSpPr>
        <p:grpSp>
          <p:nvGrpSpPr>
            <p:cNvPr id="126" name="Group 125">
              <a:extLst>
                <a:ext uri="{FF2B5EF4-FFF2-40B4-BE49-F238E27FC236}">
                  <a16:creationId xmlns:a16="http://schemas.microsoft.com/office/drawing/2014/main" id="{D7536FF7-4FAE-4935-9F77-CA0ED8BBD6BD}"/>
                </a:ext>
              </a:extLst>
            </p:cNvPr>
            <p:cNvGrpSpPr/>
            <p:nvPr/>
          </p:nvGrpSpPr>
          <p:grpSpPr>
            <a:xfrm>
              <a:off x="7104158" y="5668146"/>
              <a:ext cx="2423258" cy="907988"/>
              <a:chOff x="10895905" y="10651106"/>
              <a:chExt cx="2448487" cy="1813198"/>
            </a:xfrm>
            <a:solidFill>
              <a:schemeClr val="tx1"/>
            </a:solidFill>
          </p:grpSpPr>
          <p:sp>
            <p:nvSpPr>
              <p:cNvPr id="127" name="Speech Bubble: Rectangle with Corners Rounded 126">
                <a:extLst>
                  <a:ext uri="{FF2B5EF4-FFF2-40B4-BE49-F238E27FC236}">
                    <a16:creationId xmlns:a16="http://schemas.microsoft.com/office/drawing/2014/main" id="{94E22958-EE8C-494D-BCD0-9F7D00055C0E}"/>
                  </a:ext>
                </a:extLst>
              </p:cNvPr>
              <p:cNvSpPr/>
              <p:nvPr/>
            </p:nvSpPr>
            <p:spPr>
              <a:xfrm>
                <a:off x="10895905" y="10682107"/>
                <a:ext cx="2448487" cy="1782197"/>
              </a:xfrm>
              <a:prstGeom prst="wedgeRoundRectCallout">
                <a:avLst>
                  <a:gd name="adj1" fmla="val -18802"/>
                  <a:gd name="adj2" fmla="val -49537"/>
                  <a:gd name="adj3" fmla="val 16667"/>
                </a:avLst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28" name="TextBox 127">
                <a:extLst>
                  <a:ext uri="{FF2B5EF4-FFF2-40B4-BE49-F238E27FC236}">
                    <a16:creationId xmlns:a16="http://schemas.microsoft.com/office/drawing/2014/main" id="{AF044542-EF90-4E0C-85BB-98F80C0530FC}"/>
                  </a:ext>
                </a:extLst>
              </p:cNvPr>
              <p:cNvSpPr txBox="1"/>
              <p:nvPr/>
            </p:nvSpPr>
            <p:spPr>
              <a:xfrm>
                <a:off x="10948193" y="10651106"/>
                <a:ext cx="2302359" cy="1782373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/>
              <a:p>
                <a:pPr algn="ctr"/>
                <a:r>
                  <a:rPr lang="en-AU" sz="1200" b="1">
                    <a:solidFill>
                      <a:sysClr val="windowText" lastClr="000000"/>
                    </a:solidFill>
                  </a:rPr>
                  <a:t>CONTACT US</a:t>
                </a:r>
                <a:br>
                  <a:rPr lang="en-AU" sz="1100">
                    <a:solidFill>
                      <a:sysClr val="windowText" lastClr="000000"/>
                    </a:solidFill>
                  </a:rPr>
                </a:br>
                <a:r>
                  <a:rPr lang="en-AU" sz="1000">
                    <a:solidFill>
                      <a:sysClr val="windowText" lastClr="000000"/>
                    </a:solidFill>
                  </a:rPr>
                  <a:t>If you have any questions contact [</a:t>
                </a:r>
                <a:r>
                  <a:rPr lang="en-AU" sz="1000">
                    <a:solidFill>
                      <a:sysClr val="windowText" lastClr="000000"/>
                    </a:solidFill>
                    <a:highlight>
                      <a:srgbClr val="FFFF00"/>
                    </a:highlight>
                  </a:rPr>
                  <a:t>CRES provider</a:t>
                </a:r>
                <a:r>
                  <a:rPr lang="en-AU" sz="1000">
                    <a:solidFill>
                      <a:sysClr val="windowText" lastClr="000000"/>
                    </a:solidFill>
                  </a:rPr>
                  <a:t>]</a:t>
                </a:r>
              </a:p>
              <a:p>
                <a:pPr algn="ctr"/>
                <a:r>
                  <a:rPr lang="en-AU" sz="1000">
                    <a:solidFill>
                      <a:sysClr val="windowText" lastClr="000000"/>
                    </a:solidFill>
                  </a:rPr>
                  <a:t>E: </a:t>
                </a:r>
                <a:r>
                  <a:rPr lang="en-AU" sz="1000">
                    <a:solidFill>
                      <a:sysClr val="windowText" lastClr="000000"/>
                    </a:solidFill>
                    <a:highlight>
                      <a:srgbClr val="FFFF00"/>
                    </a:highlight>
                  </a:rPr>
                  <a:t>[email@cresprovider.com]</a:t>
                </a:r>
              </a:p>
              <a:p>
                <a:pPr algn="ctr"/>
                <a:r>
                  <a:rPr lang="en-AU" sz="1000">
                    <a:solidFill>
                      <a:sysClr val="windowText" lastClr="000000"/>
                    </a:solidFill>
                  </a:rPr>
                  <a:t>PH: [</a:t>
                </a:r>
                <a:r>
                  <a:rPr lang="en-AU" sz="1000">
                    <a:solidFill>
                      <a:sysClr val="windowText" lastClr="000000"/>
                    </a:solidFill>
                    <a:highlight>
                      <a:srgbClr val="FFFF00"/>
                    </a:highlight>
                  </a:rPr>
                  <a:t>phone number]</a:t>
                </a: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:a16="http://schemas.microsoft.com/office/drawing/2014/main" id="{5E3EF7DE-6EF1-4BDA-B055-4EA1D799DF64}"/>
                </a:ext>
              </a:extLst>
            </p:cNvPr>
            <p:cNvGrpSpPr/>
            <p:nvPr/>
          </p:nvGrpSpPr>
          <p:grpSpPr>
            <a:xfrm>
              <a:off x="5605157" y="5684111"/>
              <a:ext cx="1466769" cy="892464"/>
              <a:chOff x="11050049" y="10682105"/>
              <a:chExt cx="2200501" cy="1782197"/>
            </a:xfrm>
            <a:solidFill>
              <a:schemeClr val="tx1"/>
            </a:solidFill>
          </p:grpSpPr>
          <p:sp>
            <p:nvSpPr>
              <p:cNvPr id="130" name="Speech Bubble: Rectangle with Corners Rounded 129">
                <a:extLst>
                  <a:ext uri="{FF2B5EF4-FFF2-40B4-BE49-F238E27FC236}">
                    <a16:creationId xmlns:a16="http://schemas.microsoft.com/office/drawing/2014/main" id="{09C28334-C056-4BA0-8E5E-ACBBEE9F27BC}"/>
                  </a:ext>
                </a:extLst>
              </p:cNvPr>
              <p:cNvSpPr/>
              <p:nvPr/>
            </p:nvSpPr>
            <p:spPr>
              <a:xfrm>
                <a:off x="11139039" y="10682105"/>
                <a:ext cx="2033876" cy="1782197"/>
              </a:xfrm>
              <a:prstGeom prst="wedgeRoundRectCallout">
                <a:avLst>
                  <a:gd name="adj1" fmla="val -8152"/>
                  <a:gd name="adj2" fmla="val 24780"/>
                  <a:gd name="adj3" fmla="val 16667"/>
                </a:avLst>
              </a:prstGeom>
              <a:solidFill>
                <a:schemeClr val="bg1"/>
              </a:solidFill>
              <a:ln w="28575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AU">
                  <a:solidFill>
                    <a:sysClr val="windowText" lastClr="000000"/>
                  </a:solidFill>
                </a:endParaRPr>
              </a:p>
            </p:txBody>
          </p:sp>
          <p:sp>
            <p:nvSpPr>
              <p:cNvPr id="131" name="TextBox 130">
                <a:extLst>
                  <a:ext uri="{FF2B5EF4-FFF2-40B4-BE49-F238E27FC236}">
                    <a16:creationId xmlns:a16="http://schemas.microsoft.com/office/drawing/2014/main" id="{75D42475-0940-40B0-9BF5-43E00A885C45}"/>
                  </a:ext>
                </a:extLst>
              </p:cNvPr>
              <p:cNvSpPr txBox="1"/>
              <p:nvPr/>
            </p:nvSpPr>
            <p:spPr>
              <a:xfrm>
                <a:off x="11050049" y="10781824"/>
                <a:ext cx="2200501" cy="16133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 anchor="ctr" anchorCtr="0">
                <a:spAutoFit/>
              </a:bodyPr>
              <a:lstStyle/>
              <a:p>
                <a:pPr algn="ctr">
                  <a:spcAft>
                    <a:spcPts val="300"/>
                  </a:spcAft>
                </a:pPr>
                <a:r>
                  <a:rPr lang="en-AU" sz="1200" b="1">
                    <a:solidFill>
                      <a:sysClr val="windowText" lastClr="000000"/>
                    </a:solidFill>
                  </a:rPr>
                  <a:t>FOR MORE INFORMATION</a:t>
                </a:r>
                <a:endParaRPr lang="en-AU" sz="600">
                  <a:solidFill>
                    <a:sysClr val="windowText" lastClr="000000"/>
                  </a:solidFill>
                </a:endParaRPr>
              </a:p>
              <a:p>
                <a:pPr algn="ctr"/>
                <a:r>
                  <a:rPr lang="en-AU" sz="1000">
                    <a:solidFill>
                      <a:sysClr val="windowText" lastClr="000000"/>
                    </a:solidFill>
                  </a:rPr>
                  <a:t>Visit </a:t>
                </a:r>
                <a:r>
                  <a:rPr lang="en-AU" sz="1000">
                    <a:solidFill>
                      <a:sysClr val="windowText" lastClr="000000"/>
                    </a:solidFill>
                    <a:highlight>
                      <a:srgbClr val="FFFF00"/>
                    </a:highlight>
                  </a:rPr>
                  <a:t>[link to CRES landing page]</a:t>
                </a:r>
              </a:p>
            </p:txBody>
          </p:sp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FD7A5E25-B0A6-4122-AC38-8351686267FE}"/>
                </a:ext>
              </a:extLst>
            </p:cNvPr>
            <p:cNvSpPr/>
            <p:nvPr/>
          </p:nvSpPr>
          <p:spPr>
            <a:xfrm>
              <a:off x="4674791" y="5676574"/>
              <a:ext cx="900000" cy="900000"/>
            </a:xfrm>
            <a:prstGeom prst="rect">
              <a:avLst/>
            </a:prstGeom>
            <a:solidFill>
              <a:schemeClr val="bg2"/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AU" sz="1200" b="1">
                  <a:solidFill>
                    <a:sysClr val="windowText" lastClr="000000"/>
                  </a:solidFill>
                  <a:highlight>
                    <a:srgbClr val="FFFF00"/>
                  </a:highlight>
                </a:rPr>
                <a:t>Space for QR code if using</a:t>
              </a:r>
            </a:p>
          </p:txBody>
        </p:sp>
      </p:grp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4B86461B-CD88-4EA9-9AF7-04F2CFB52DB0}"/>
              </a:ext>
            </a:extLst>
          </p:cNvPr>
          <p:cNvSpPr/>
          <p:nvPr/>
        </p:nvSpPr>
        <p:spPr>
          <a:xfrm rot="5400000">
            <a:off x="2456762" y="1825388"/>
            <a:ext cx="240632" cy="207441"/>
          </a:xfrm>
          <a:prstGeom prst="triangle">
            <a:avLst/>
          </a:prstGeom>
          <a:solidFill>
            <a:schemeClr val="accent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9" name="Isosceles Triangle 108">
            <a:extLst>
              <a:ext uri="{FF2B5EF4-FFF2-40B4-BE49-F238E27FC236}">
                <a16:creationId xmlns:a16="http://schemas.microsoft.com/office/drawing/2014/main" id="{F16C21A3-7E12-46BC-8C06-5DE37F3174CD}"/>
              </a:ext>
            </a:extLst>
          </p:cNvPr>
          <p:cNvSpPr/>
          <p:nvPr/>
        </p:nvSpPr>
        <p:spPr>
          <a:xfrm rot="5400000">
            <a:off x="4841699" y="1825389"/>
            <a:ext cx="240632" cy="207441"/>
          </a:xfrm>
          <a:prstGeom prst="triangle">
            <a:avLst/>
          </a:prstGeom>
          <a:solidFill>
            <a:schemeClr val="accent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0" name="Isosceles Triangle 109">
            <a:extLst>
              <a:ext uri="{FF2B5EF4-FFF2-40B4-BE49-F238E27FC236}">
                <a16:creationId xmlns:a16="http://schemas.microsoft.com/office/drawing/2014/main" id="{ACCAF040-866D-4EB1-94EE-AEA24135FD90}"/>
              </a:ext>
            </a:extLst>
          </p:cNvPr>
          <p:cNvSpPr/>
          <p:nvPr/>
        </p:nvSpPr>
        <p:spPr>
          <a:xfrm rot="5400000">
            <a:off x="7231706" y="1825390"/>
            <a:ext cx="240632" cy="207441"/>
          </a:xfrm>
          <a:prstGeom prst="triangle">
            <a:avLst/>
          </a:prstGeom>
          <a:solidFill>
            <a:schemeClr val="accent1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236353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2F03CCA-9A88-4717-808F-4053210CDA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63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2F03CCA-9A88-4717-808F-4053210CDA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F18EC0B-E81B-4BD6-BBD9-8CB1FB1F48E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AU" sz="2383" b="1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156AF4BF-4C80-4BA6-81E2-C44EC462B69F}"/>
              </a:ext>
            </a:extLst>
          </p:cNvPr>
          <p:cNvSpPr/>
          <p:nvPr/>
        </p:nvSpPr>
        <p:spPr>
          <a:xfrm>
            <a:off x="3176" y="5772508"/>
            <a:ext cx="9902824" cy="89846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>
              <a:solidFill>
                <a:sysClr val="windowText" lastClr="000000"/>
              </a:solidFill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5884CF9B-48EC-4FD5-A36B-AB2E98EC9425}"/>
              </a:ext>
            </a:extLst>
          </p:cNvPr>
          <p:cNvGrpSpPr/>
          <p:nvPr/>
        </p:nvGrpSpPr>
        <p:grpSpPr>
          <a:xfrm>
            <a:off x="5133219" y="2435593"/>
            <a:ext cx="1980000" cy="3009353"/>
            <a:chOff x="3392538" y="2263447"/>
            <a:chExt cx="1109980" cy="3492000"/>
          </a:xfrm>
          <a:solidFill>
            <a:schemeClr val="tx2"/>
          </a:solidFill>
        </p:grpSpPr>
        <p:sp>
          <p:nvSpPr>
            <p:cNvPr id="58" name="Rectangle 15">
              <a:extLst>
                <a:ext uri="{FF2B5EF4-FFF2-40B4-BE49-F238E27FC236}">
                  <a16:creationId xmlns:a16="http://schemas.microsoft.com/office/drawing/2014/main" id="{93FB045D-D04D-423B-A1C1-2DBCF38ED7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392538" y="2263447"/>
              <a:ext cx="1109980" cy="59690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59" name="Line 16">
              <a:extLst>
                <a:ext uri="{FF2B5EF4-FFF2-40B4-BE49-F238E27FC236}">
                  <a16:creationId xmlns:a16="http://schemas.microsoft.com/office/drawing/2014/main" id="{A37170DB-BF85-47D2-AD31-825D4217E8C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497438" y="2263447"/>
              <a:ext cx="0" cy="3492000"/>
            </a:xfrm>
            <a:prstGeom prst="line">
              <a:avLst/>
            </a:prstGeom>
            <a:grpFill/>
            <a:ln w="14288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55" name="Rectangle 28">
            <a:extLst>
              <a:ext uri="{FF2B5EF4-FFF2-40B4-BE49-F238E27FC236}">
                <a16:creationId xmlns:a16="http://schemas.microsoft.com/office/drawing/2014/main" id="{79CAB2E9-5F04-4F24-924F-B87CC2A9C6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28751" y="1933342"/>
            <a:ext cx="1281751" cy="4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CONFIRM YOUR </a:t>
            </a:r>
          </a:p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PLACE</a:t>
            </a:r>
          </a:p>
          <a:p>
            <a:pPr defTabSz="914243"/>
            <a:endParaRPr lang="en-US" altLang="en-US" sz="1300">
              <a:solidFill>
                <a:sysClr val="windowText" lastClr="000000"/>
              </a:solidFill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A98405F6-530F-4027-BB29-98449CC1B0A3}"/>
              </a:ext>
            </a:extLst>
          </p:cNvPr>
          <p:cNvGrpSpPr/>
          <p:nvPr/>
        </p:nvGrpSpPr>
        <p:grpSpPr>
          <a:xfrm>
            <a:off x="7547415" y="2435593"/>
            <a:ext cx="1980000" cy="3009354"/>
            <a:chOff x="4743994" y="2278576"/>
            <a:chExt cx="1109980" cy="3500778"/>
          </a:xfrm>
          <a:solidFill>
            <a:schemeClr val="tx2"/>
          </a:solidFill>
        </p:grpSpPr>
        <p:sp>
          <p:nvSpPr>
            <p:cNvPr id="52" name="Rectangle 23">
              <a:extLst>
                <a:ext uri="{FF2B5EF4-FFF2-40B4-BE49-F238E27FC236}">
                  <a16:creationId xmlns:a16="http://schemas.microsoft.com/office/drawing/2014/main" id="{458C2CD1-C18E-4BE2-AC88-635DED6B85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43994" y="2278576"/>
              <a:ext cx="1109980" cy="60960"/>
            </a:xfrm>
            <a:prstGeom prst="rect">
              <a:avLst/>
            </a:prstGeom>
            <a:grpFill/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53" name="Line 24">
              <a:extLst>
                <a:ext uri="{FF2B5EF4-FFF2-40B4-BE49-F238E27FC236}">
                  <a16:creationId xmlns:a16="http://schemas.microsoft.com/office/drawing/2014/main" id="{8CDB5CBD-51E5-42E3-8270-E4239C0A954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842553" y="2287354"/>
              <a:ext cx="0" cy="3492000"/>
            </a:xfrm>
            <a:prstGeom prst="line">
              <a:avLst/>
            </a:prstGeom>
            <a:grpFill/>
            <a:ln w="14288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49" name="Rectangle 32">
            <a:extLst>
              <a:ext uri="{FF2B5EF4-FFF2-40B4-BE49-F238E27FC236}">
                <a16:creationId xmlns:a16="http://schemas.microsoft.com/office/drawing/2014/main" id="{D12495C2-3C38-4FFB-8BEE-C84ADF251592}"/>
              </a:ext>
            </a:extLst>
          </p:cNvPr>
          <p:cNvSpPr>
            <a:spLocks noChangeArrowheads="1"/>
          </p:cNvSpPr>
          <p:nvPr/>
        </p:nvSpPr>
        <p:spPr bwMode="auto">
          <a:xfrm>
            <a:off x="7530721" y="1933342"/>
            <a:ext cx="1282665" cy="398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ENROL WITH YOUR </a:t>
            </a:r>
          </a:p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KINDER</a:t>
            </a:r>
          </a:p>
          <a:p>
            <a:pPr defTabSz="914243"/>
            <a:endParaRPr lang="en-US" altLang="en-US" sz="1300">
              <a:solidFill>
                <a:sysClr val="windowText" lastClr="000000"/>
              </a:solidFill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8F60D059-CF68-424C-B6CC-A9325508C221}"/>
              </a:ext>
            </a:extLst>
          </p:cNvPr>
          <p:cNvGrpSpPr/>
          <p:nvPr/>
        </p:nvGrpSpPr>
        <p:grpSpPr>
          <a:xfrm>
            <a:off x="361975" y="2435593"/>
            <a:ext cx="1980000" cy="4207844"/>
            <a:chOff x="434699" y="2303626"/>
            <a:chExt cx="1109980" cy="3492000"/>
          </a:xfrm>
          <a:solidFill>
            <a:schemeClr val="tx2"/>
          </a:solidFill>
        </p:grpSpPr>
        <p:sp>
          <p:nvSpPr>
            <p:cNvPr id="27" name="Rectangle 13">
              <a:extLst>
                <a:ext uri="{FF2B5EF4-FFF2-40B4-BE49-F238E27FC236}">
                  <a16:creationId xmlns:a16="http://schemas.microsoft.com/office/drawing/2014/main" id="{E381BEF7-2D1E-4F70-BF0D-1B801B0F9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99" y="2303628"/>
              <a:ext cx="1109980" cy="5969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28" name="Line 14">
              <a:extLst>
                <a:ext uri="{FF2B5EF4-FFF2-40B4-BE49-F238E27FC236}">
                  <a16:creationId xmlns:a16="http://schemas.microsoft.com/office/drawing/2014/main" id="{FE106542-E2DD-4D44-913E-2E1AFADD021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39599" y="2303626"/>
              <a:ext cx="0" cy="3492000"/>
            </a:xfrm>
            <a:prstGeom prst="line">
              <a:avLst/>
            </a:prstGeom>
            <a:grpFill/>
            <a:ln w="14288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21" name="Rectangle 27">
            <a:extLst>
              <a:ext uri="{FF2B5EF4-FFF2-40B4-BE49-F238E27FC236}">
                <a16:creationId xmlns:a16="http://schemas.microsoft.com/office/drawing/2014/main" id="{DF657BC5-C17A-4AE5-815B-F174BCEAE2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743" y="1933342"/>
            <a:ext cx="1290299" cy="3955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REGISTER FOR </a:t>
            </a:r>
          </a:p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KINDER</a:t>
            </a:r>
          </a:p>
          <a:p>
            <a:pPr defTabSz="914243"/>
            <a:endParaRPr lang="en-US" altLang="en-US" sz="1300">
              <a:solidFill>
                <a:sysClr val="windowText" lastClr="000000"/>
              </a:solidFill>
            </a:endParaRPr>
          </a:p>
        </p:txBody>
      </p:sp>
      <p:sp>
        <p:nvSpPr>
          <p:cNvPr id="12" name="Rectangle 31">
            <a:extLst>
              <a:ext uri="{FF2B5EF4-FFF2-40B4-BE49-F238E27FC236}">
                <a16:creationId xmlns:a16="http://schemas.microsoft.com/office/drawing/2014/main" id="{D259CC22-7EC3-4FBC-8B5A-49076FD8C365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8060" y="1933342"/>
            <a:ext cx="1290069" cy="4000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WAIT FOR YOUR </a:t>
            </a:r>
          </a:p>
          <a:p>
            <a:pPr defTabSz="914243"/>
            <a:r>
              <a:rPr lang="en-AU" sz="1400">
                <a:solidFill>
                  <a:sysClr val="windowText" lastClr="000000"/>
                </a:solidFill>
              </a:rPr>
              <a:t>OFFER</a:t>
            </a:r>
          </a:p>
          <a:p>
            <a:pPr defTabSz="914243"/>
            <a:endParaRPr lang="en-US" altLang="en-US" sz="1300">
              <a:solidFill>
                <a:sysClr val="windowText" lastClr="000000"/>
              </a:solidFill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60E5C3-444E-474B-AD23-508B51AA7D4A}"/>
              </a:ext>
            </a:extLst>
          </p:cNvPr>
          <p:cNvGrpSpPr/>
          <p:nvPr/>
        </p:nvGrpSpPr>
        <p:grpSpPr>
          <a:xfrm>
            <a:off x="2757122" y="2435593"/>
            <a:ext cx="1980000" cy="3007320"/>
            <a:chOff x="434699" y="2263445"/>
            <a:chExt cx="1109980" cy="3492000"/>
          </a:xfrm>
          <a:solidFill>
            <a:schemeClr val="tx2"/>
          </a:solidFill>
        </p:grpSpPr>
        <p:sp>
          <p:nvSpPr>
            <p:cNvPr id="18" name="Rectangle 13">
              <a:extLst>
                <a:ext uri="{FF2B5EF4-FFF2-40B4-BE49-F238E27FC236}">
                  <a16:creationId xmlns:a16="http://schemas.microsoft.com/office/drawing/2014/main" id="{A22FDB1E-197A-4574-BC96-02CB2FD19C3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4699" y="2263447"/>
              <a:ext cx="1109980" cy="59690"/>
            </a:xfrm>
            <a:prstGeom prst="rect">
              <a:avLst/>
            </a:prstGeom>
            <a:grpFill/>
            <a:ln>
              <a:solidFill>
                <a:schemeClr val="tx2"/>
              </a:solidFill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9" name="Line 14">
              <a:extLst>
                <a:ext uri="{FF2B5EF4-FFF2-40B4-BE49-F238E27FC236}">
                  <a16:creationId xmlns:a16="http://schemas.microsoft.com/office/drawing/2014/main" id="{E426A457-2600-487A-B617-43EFE7B72FF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539599" y="2263445"/>
              <a:ext cx="0" cy="3492000"/>
            </a:xfrm>
            <a:prstGeom prst="line">
              <a:avLst/>
            </a:prstGeom>
            <a:grpFill/>
            <a:ln w="14288" cap="flat">
              <a:solidFill>
                <a:schemeClr val="tx2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24" tIns="45712" rIns="91424" bIns="45712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819C8EE4-AC30-45BD-A672-5B175823A68F}"/>
              </a:ext>
            </a:extLst>
          </p:cNvPr>
          <p:cNvGrpSpPr>
            <a:grpSpLocks noChangeAspect="1"/>
          </p:cNvGrpSpPr>
          <p:nvPr/>
        </p:nvGrpSpPr>
        <p:grpSpPr>
          <a:xfrm>
            <a:off x="2720625" y="1447319"/>
            <a:ext cx="510949" cy="432000"/>
            <a:chOff x="766763" y="1122363"/>
            <a:chExt cx="542925" cy="490538"/>
          </a:xfrm>
          <a:solidFill>
            <a:schemeClr val="tx2"/>
          </a:solidFill>
        </p:grpSpPr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id="{48D32796-1B27-4F56-A426-D45BA0528B9B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282701"/>
              <a:ext cx="319088" cy="15875"/>
            </a:xfrm>
            <a:custGeom>
              <a:avLst/>
              <a:gdLst>
                <a:gd name="T0" fmla="*/ 5 w 100"/>
                <a:gd name="T1" fmla="*/ 5 h 5"/>
                <a:gd name="T2" fmla="*/ 95 w 100"/>
                <a:gd name="T3" fmla="*/ 5 h 5"/>
                <a:gd name="T4" fmla="*/ 100 w 100"/>
                <a:gd name="T5" fmla="*/ 3 h 5"/>
                <a:gd name="T6" fmla="*/ 95 w 100"/>
                <a:gd name="T7" fmla="*/ 0 h 5"/>
                <a:gd name="T8" fmla="*/ 5 w 100"/>
                <a:gd name="T9" fmla="*/ 0 h 5"/>
                <a:gd name="T10" fmla="*/ 0 w 100"/>
                <a:gd name="T11" fmla="*/ 3 h 5"/>
                <a:gd name="T12" fmla="*/ 5 w 100"/>
                <a:gd name="T13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5" y="5"/>
                  </a:move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4"/>
                    <a:pt x="3" y="5"/>
                    <a:pt x="5" y="5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2" name="Freeform 7">
              <a:extLst>
                <a:ext uri="{FF2B5EF4-FFF2-40B4-BE49-F238E27FC236}">
                  <a16:creationId xmlns:a16="http://schemas.microsoft.com/office/drawing/2014/main" id="{19F39CFB-1A1F-42DB-A66C-4F821A183D73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349376"/>
              <a:ext cx="319088" cy="17463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2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2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0"/>
                    <a:pt x="0" y="2"/>
                  </a:cubicBezTo>
                  <a:cubicBezTo>
                    <a:pt x="0" y="4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4"/>
                    <a:pt x="100" y="2"/>
                  </a:cubicBezTo>
                  <a:cubicBezTo>
                    <a:pt x="100" y="0"/>
                    <a:pt x="98" y="0"/>
                    <a:pt x="9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3" name="Freeform 8">
              <a:extLst>
                <a:ext uri="{FF2B5EF4-FFF2-40B4-BE49-F238E27FC236}">
                  <a16:creationId xmlns:a16="http://schemas.microsoft.com/office/drawing/2014/main" id="{2A46B459-E65B-4C33-A26D-17B273837F02}"/>
                </a:ext>
              </a:extLst>
            </p:cNvPr>
            <p:cNvSpPr>
              <a:spLocks/>
            </p:cNvSpPr>
            <p:nvPr/>
          </p:nvSpPr>
          <p:spPr bwMode="auto">
            <a:xfrm>
              <a:off x="877888" y="1414463"/>
              <a:ext cx="319088" cy="15875"/>
            </a:xfrm>
            <a:custGeom>
              <a:avLst/>
              <a:gdLst>
                <a:gd name="T0" fmla="*/ 95 w 100"/>
                <a:gd name="T1" fmla="*/ 0 h 5"/>
                <a:gd name="T2" fmla="*/ 5 w 100"/>
                <a:gd name="T3" fmla="*/ 0 h 5"/>
                <a:gd name="T4" fmla="*/ 0 w 100"/>
                <a:gd name="T5" fmla="*/ 3 h 5"/>
                <a:gd name="T6" fmla="*/ 5 w 100"/>
                <a:gd name="T7" fmla="*/ 5 h 5"/>
                <a:gd name="T8" fmla="*/ 95 w 100"/>
                <a:gd name="T9" fmla="*/ 5 h 5"/>
                <a:gd name="T10" fmla="*/ 100 w 100"/>
                <a:gd name="T11" fmla="*/ 3 h 5"/>
                <a:gd name="T12" fmla="*/ 95 w 100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5">
                  <a:moveTo>
                    <a:pt x="9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1"/>
                    <a:pt x="0" y="3"/>
                  </a:cubicBezTo>
                  <a:cubicBezTo>
                    <a:pt x="0" y="5"/>
                    <a:pt x="3" y="5"/>
                    <a:pt x="5" y="5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8" y="5"/>
                    <a:pt x="100" y="5"/>
                    <a:pt x="100" y="3"/>
                  </a:cubicBezTo>
                  <a:cubicBezTo>
                    <a:pt x="100" y="1"/>
                    <a:pt x="98" y="0"/>
                    <a:pt x="95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2CDC1370-EC3F-457F-94EC-759B11F5E01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66763" y="1122363"/>
              <a:ext cx="542925" cy="490538"/>
            </a:xfrm>
            <a:custGeom>
              <a:avLst/>
              <a:gdLst>
                <a:gd name="T0" fmla="*/ 85 w 170"/>
                <a:gd name="T1" fmla="*/ 0 h 153"/>
                <a:gd name="T2" fmla="*/ 0 w 170"/>
                <a:gd name="T3" fmla="*/ 69 h 153"/>
                <a:gd name="T4" fmla="*/ 24 w 170"/>
                <a:gd name="T5" fmla="*/ 117 h 153"/>
                <a:gd name="T6" fmla="*/ 24 w 170"/>
                <a:gd name="T7" fmla="*/ 117 h 153"/>
                <a:gd name="T8" fmla="*/ 15 w 170"/>
                <a:gd name="T9" fmla="*/ 153 h 153"/>
                <a:gd name="T10" fmla="*/ 61 w 170"/>
                <a:gd name="T11" fmla="*/ 135 h 153"/>
                <a:gd name="T12" fmla="*/ 62 w 170"/>
                <a:gd name="T13" fmla="*/ 135 h 153"/>
                <a:gd name="T14" fmla="*/ 85 w 170"/>
                <a:gd name="T15" fmla="*/ 138 h 153"/>
                <a:gd name="T16" fmla="*/ 170 w 170"/>
                <a:gd name="T17" fmla="*/ 69 h 153"/>
                <a:gd name="T18" fmla="*/ 85 w 170"/>
                <a:gd name="T19" fmla="*/ 0 h 153"/>
                <a:gd name="T20" fmla="*/ 85 w 170"/>
                <a:gd name="T21" fmla="*/ 131 h 153"/>
                <a:gd name="T22" fmla="*/ 62 w 170"/>
                <a:gd name="T23" fmla="*/ 128 h 153"/>
                <a:gd name="T24" fmla="*/ 58 w 170"/>
                <a:gd name="T25" fmla="*/ 129 h 153"/>
                <a:gd name="T26" fmla="*/ 25 w 170"/>
                <a:gd name="T27" fmla="*/ 142 h 153"/>
                <a:gd name="T28" fmla="*/ 31 w 170"/>
                <a:gd name="T29" fmla="*/ 119 h 153"/>
                <a:gd name="T30" fmla="*/ 28 w 170"/>
                <a:gd name="T31" fmla="*/ 112 h 153"/>
                <a:gd name="T32" fmla="*/ 6 w 170"/>
                <a:gd name="T33" fmla="*/ 69 h 153"/>
                <a:gd name="T34" fmla="*/ 85 w 170"/>
                <a:gd name="T35" fmla="*/ 7 h 153"/>
                <a:gd name="T36" fmla="*/ 163 w 170"/>
                <a:gd name="T37" fmla="*/ 69 h 153"/>
                <a:gd name="T38" fmla="*/ 85 w 170"/>
                <a:gd name="T39" fmla="*/ 131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70" h="153">
                  <a:moveTo>
                    <a:pt x="85" y="0"/>
                  </a:moveTo>
                  <a:cubicBezTo>
                    <a:pt x="38" y="0"/>
                    <a:pt x="0" y="31"/>
                    <a:pt x="0" y="69"/>
                  </a:cubicBezTo>
                  <a:cubicBezTo>
                    <a:pt x="0" y="87"/>
                    <a:pt x="8" y="104"/>
                    <a:pt x="24" y="117"/>
                  </a:cubicBezTo>
                  <a:cubicBezTo>
                    <a:pt x="24" y="117"/>
                    <a:pt x="24" y="117"/>
                    <a:pt x="24" y="117"/>
                  </a:cubicBezTo>
                  <a:cubicBezTo>
                    <a:pt x="15" y="153"/>
                    <a:pt x="15" y="153"/>
                    <a:pt x="15" y="153"/>
                  </a:cubicBezTo>
                  <a:cubicBezTo>
                    <a:pt x="61" y="135"/>
                    <a:pt x="61" y="135"/>
                    <a:pt x="61" y="135"/>
                  </a:cubicBezTo>
                  <a:cubicBezTo>
                    <a:pt x="62" y="135"/>
                    <a:pt x="62" y="135"/>
                    <a:pt x="62" y="135"/>
                  </a:cubicBezTo>
                  <a:cubicBezTo>
                    <a:pt x="69" y="137"/>
                    <a:pt x="77" y="138"/>
                    <a:pt x="85" y="138"/>
                  </a:cubicBezTo>
                  <a:cubicBezTo>
                    <a:pt x="132" y="138"/>
                    <a:pt x="170" y="107"/>
                    <a:pt x="170" y="69"/>
                  </a:cubicBezTo>
                  <a:cubicBezTo>
                    <a:pt x="170" y="31"/>
                    <a:pt x="132" y="0"/>
                    <a:pt x="85" y="0"/>
                  </a:cubicBezTo>
                  <a:close/>
                  <a:moveTo>
                    <a:pt x="85" y="131"/>
                  </a:moveTo>
                  <a:cubicBezTo>
                    <a:pt x="78" y="131"/>
                    <a:pt x="70" y="130"/>
                    <a:pt x="62" y="128"/>
                  </a:cubicBezTo>
                  <a:cubicBezTo>
                    <a:pt x="62" y="128"/>
                    <a:pt x="60" y="128"/>
                    <a:pt x="58" y="129"/>
                  </a:cubicBezTo>
                  <a:cubicBezTo>
                    <a:pt x="25" y="142"/>
                    <a:pt x="25" y="142"/>
                    <a:pt x="25" y="142"/>
                  </a:cubicBezTo>
                  <a:cubicBezTo>
                    <a:pt x="31" y="119"/>
                    <a:pt x="31" y="119"/>
                    <a:pt x="31" y="119"/>
                  </a:cubicBezTo>
                  <a:cubicBezTo>
                    <a:pt x="32" y="116"/>
                    <a:pt x="31" y="114"/>
                    <a:pt x="28" y="112"/>
                  </a:cubicBezTo>
                  <a:cubicBezTo>
                    <a:pt x="14" y="100"/>
                    <a:pt x="6" y="85"/>
                    <a:pt x="6" y="69"/>
                  </a:cubicBezTo>
                  <a:cubicBezTo>
                    <a:pt x="6" y="35"/>
                    <a:pt x="42" y="7"/>
                    <a:pt x="85" y="7"/>
                  </a:cubicBezTo>
                  <a:cubicBezTo>
                    <a:pt x="129" y="7"/>
                    <a:pt x="163" y="35"/>
                    <a:pt x="163" y="69"/>
                  </a:cubicBezTo>
                  <a:cubicBezTo>
                    <a:pt x="163" y="104"/>
                    <a:pt x="129" y="131"/>
                    <a:pt x="85" y="13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7934AC76-F0D1-4610-A6C0-608C4C7650A6}"/>
              </a:ext>
            </a:extLst>
          </p:cNvPr>
          <p:cNvGrpSpPr>
            <a:grpSpLocks noChangeAspect="1"/>
          </p:cNvGrpSpPr>
          <p:nvPr/>
        </p:nvGrpSpPr>
        <p:grpSpPr>
          <a:xfrm>
            <a:off x="361975" y="1460019"/>
            <a:ext cx="373395" cy="432000"/>
            <a:chOff x="3151063" y="1100138"/>
            <a:chExt cx="436564" cy="539750"/>
          </a:xfrm>
          <a:solidFill>
            <a:schemeClr val="tx2"/>
          </a:solidFill>
        </p:grpSpPr>
        <p:sp>
          <p:nvSpPr>
            <p:cNvPr id="66" name="Freeform 25">
              <a:extLst>
                <a:ext uri="{FF2B5EF4-FFF2-40B4-BE49-F238E27FC236}">
                  <a16:creationId xmlns:a16="http://schemas.microsoft.com/office/drawing/2014/main" id="{62A4AB9E-F6F1-4402-B35E-92DE6FD6137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7" name="Freeform 26">
              <a:extLst>
                <a:ext uri="{FF2B5EF4-FFF2-40B4-BE49-F238E27FC236}">
                  <a16:creationId xmlns:a16="http://schemas.microsoft.com/office/drawing/2014/main" id="{13DB6E63-C65C-47E0-BEEB-605D5E234404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8" name="Freeform 27">
              <a:extLst>
                <a:ext uri="{FF2B5EF4-FFF2-40B4-BE49-F238E27FC236}">
                  <a16:creationId xmlns:a16="http://schemas.microsoft.com/office/drawing/2014/main" id="{012B9BE6-9142-4F62-B3E4-0A1EA57DE6E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69" name="Freeform 28">
              <a:extLst>
                <a:ext uri="{FF2B5EF4-FFF2-40B4-BE49-F238E27FC236}">
                  <a16:creationId xmlns:a16="http://schemas.microsoft.com/office/drawing/2014/main" id="{38E29277-ED97-4F3B-A49E-47BE9ECF2CE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  <p:sp>
          <p:nvSpPr>
            <p:cNvPr id="70" name="Freeform 29">
              <a:extLst>
                <a:ext uri="{FF2B5EF4-FFF2-40B4-BE49-F238E27FC236}">
                  <a16:creationId xmlns:a16="http://schemas.microsoft.com/office/drawing/2014/main" id="{D7F82A48-FF9A-4067-BC9C-E9C65A03A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/>
            </a:p>
          </p:txBody>
        </p:sp>
      </p:grpSp>
      <p:sp>
        <p:nvSpPr>
          <p:cNvPr id="71" name="Freeform 23">
            <a:extLst>
              <a:ext uri="{FF2B5EF4-FFF2-40B4-BE49-F238E27FC236}">
                <a16:creationId xmlns:a16="http://schemas.microsoft.com/office/drawing/2014/main" id="{4ABD2649-4A17-4EBB-96DA-F1E2E087AB9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12475" y="1447319"/>
            <a:ext cx="460298" cy="432000"/>
          </a:xfrm>
          <a:custGeom>
            <a:avLst/>
            <a:gdLst>
              <a:gd name="T0" fmla="*/ 163 w 170"/>
              <a:gd name="T1" fmla="*/ 52 h 170"/>
              <a:gd name="T2" fmla="*/ 158 w 170"/>
              <a:gd name="T3" fmla="*/ 52 h 170"/>
              <a:gd name="T4" fmla="*/ 157 w 170"/>
              <a:gd name="T5" fmla="*/ 56 h 170"/>
              <a:gd name="T6" fmla="*/ 157 w 170"/>
              <a:gd name="T7" fmla="*/ 56 h 170"/>
              <a:gd name="T8" fmla="*/ 162 w 170"/>
              <a:gd name="T9" fmla="*/ 85 h 170"/>
              <a:gd name="T10" fmla="*/ 85 w 170"/>
              <a:gd name="T11" fmla="*/ 162 h 170"/>
              <a:gd name="T12" fmla="*/ 8 w 170"/>
              <a:gd name="T13" fmla="*/ 85 h 170"/>
              <a:gd name="T14" fmla="*/ 85 w 170"/>
              <a:gd name="T15" fmla="*/ 7 h 170"/>
              <a:gd name="T16" fmla="*/ 141 w 170"/>
              <a:gd name="T17" fmla="*/ 31 h 170"/>
              <a:gd name="T18" fmla="*/ 141 w 170"/>
              <a:gd name="T19" fmla="*/ 31 h 170"/>
              <a:gd name="T20" fmla="*/ 146 w 170"/>
              <a:gd name="T21" fmla="*/ 31 h 170"/>
              <a:gd name="T22" fmla="*/ 146 w 170"/>
              <a:gd name="T23" fmla="*/ 25 h 170"/>
              <a:gd name="T24" fmla="*/ 145 w 170"/>
              <a:gd name="T25" fmla="*/ 25 h 170"/>
              <a:gd name="T26" fmla="*/ 85 w 170"/>
              <a:gd name="T27" fmla="*/ 0 h 170"/>
              <a:gd name="T28" fmla="*/ 0 w 170"/>
              <a:gd name="T29" fmla="*/ 85 h 170"/>
              <a:gd name="T30" fmla="*/ 85 w 170"/>
              <a:gd name="T31" fmla="*/ 170 h 170"/>
              <a:gd name="T32" fmla="*/ 170 w 170"/>
              <a:gd name="T33" fmla="*/ 85 h 170"/>
              <a:gd name="T34" fmla="*/ 164 w 170"/>
              <a:gd name="T35" fmla="*/ 54 h 170"/>
              <a:gd name="T36" fmla="*/ 163 w 170"/>
              <a:gd name="T37" fmla="*/ 52 h 170"/>
              <a:gd name="T38" fmla="*/ 85 w 170"/>
              <a:gd name="T39" fmla="*/ 106 h 170"/>
              <a:gd name="T40" fmla="*/ 49 w 170"/>
              <a:gd name="T41" fmla="*/ 70 h 170"/>
              <a:gd name="T42" fmla="*/ 46 w 170"/>
              <a:gd name="T43" fmla="*/ 69 h 170"/>
              <a:gd name="T44" fmla="*/ 42 w 170"/>
              <a:gd name="T45" fmla="*/ 73 h 170"/>
              <a:gd name="T46" fmla="*/ 44 w 170"/>
              <a:gd name="T47" fmla="*/ 76 h 170"/>
              <a:gd name="T48" fmla="*/ 82 w 170"/>
              <a:gd name="T49" fmla="*/ 115 h 170"/>
              <a:gd name="T50" fmla="*/ 85 w 170"/>
              <a:gd name="T51" fmla="*/ 116 h 170"/>
              <a:gd name="T52" fmla="*/ 88 w 170"/>
              <a:gd name="T53" fmla="*/ 114 h 170"/>
              <a:gd name="T54" fmla="*/ 88 w 170"/>
              <a:gd name="T55" fmla="*/ 115 h 170"/>
              <a:gd name="T56" fmla="*/ 152 w 170"/>
              <a:gd name="T57" fmla="*/ 47 h 170"/>
              <a:gd name="T58" fmla="*/ 152 w 170"/>
              <a:gd name="T59" fmla="*/ 47 h 170"/>
              <a:gd name="T60" fmla="*/ 158 w 170"/>
              <a:gd name="T61" fmla="*/ 41 h 170"/>
              <a:gd name="T62" fmla="*/ 158 w 170"/>
              <a:gd name="T63" fmla="*/ 41 h 170"/>
              <a:gd name="T64" fmla="*/ 169 w 170"/>
              <a:gd name="T65" fmla="*/ 29 h 170"/>
              <a:gd name="T66" fmla="*/ 169 w 170"/>
              <a:gd name="T67" fmla="*/ 29 h 170"/>
              <a:gd name="T68" fmla="*/ 170 w 170"/>
              <a:gd name="T69" fmla="*/ 27 h 170"/>
              <a:gd name="T70" fmla="*/ 166 w 170"/>
              <a:gd name="T71" fmla="*/ 23 h 170"/>
              <a:gd name="T72" fmla="*/ 163 w 170"/>
              <a:gd name="T73" fmla="*/ 24 h 170"/>
              <a:gd name="T74" fmla="*/ 163 w 170"/>
              <a:gd name="T75" fmla="*/ 24 h 170"/>
              <a:gd name="T76" fmla="*/ 153 w 170"/>
              <a:gd name="T77" fmla="*/ 35 h 170"/>
              <a:gd name="T78" fmla="*/ 153 w 170"/>
              <a:gd name="T79" fmla="*/ 35 h 170"/>
              <a:gd name="T80" fmla="*/ 148 w 170"/>
              <a:gd name="T81" fmla="*/ 40 h 170"/>
              <a:gd name="T82" fmla="*/ 148 w 170"/>
              <a:gd name="T83" fmla="*/ 40 h 170"/>
              <a:gd name="T84" fmla="*/ 85 w 170"/>
              <a:gd name="T85" fmla="*/ 106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0" h="170">
                <a:moveTo>
                  <a:pt x="163" y="52"/>
                </a:moveTo>
                <a:cubicBezTo>
                  <a:pt x="162" y="51"/>
                  <a:pt x="159" y="51"/>
                  <a:pt x="158" y="52"/>
                </a:cubicBezTo>
                <a:cubicBezTo>
                  <a:pt x="157" y="53"/>
                  <a:pt x="156" y="55"/>
                  <a:pt x="157" y="56"/>
                </a:cubicBezTo>
                <a:cubicBezTo>
                  <a:pt x="157" y="56"/>
                  <a:pt x="157" y="56"/>
                  <a:pt x="157" y="56"/>
                </a:cubicBezTo>
                <a:cubicBezTo>
                  <a:pt x="160" y="65"/>
                  <a:pt x="162" y="75"/>
                  <a:pt x="162" y="85"/>
                </a:cubicBezTo>
                <a:cubicBezTo>
                  <a:pt x="162" y="127"/>
                  <a:pt x="128" y="162"/>
                  <a:pt x="85" y="162"/>
                </a:cubicBezTo>
                <a:cubicBezTo>
                  <a:pt x="42" y="162"/>
                  <a:pt x="8" y="127"/>
                  <a:pt x="8" y="85"/>
                </a:cubicBezTo>
                <a:cubicBezTo>
                  <a:pt x="8" y="42"/>
                  <a:pt x="42" y="7"/>
                  <a:pt x="85" y="7"/>
                </a:cubicBezTo>
                <a:cubicBezTo>
                  <a:pt x="107" y="7"/>
                  <a:pt x="127" y="17"/>
                  <a:pt x="141" y="31"/>
                </a:cubicBezTo>
                <a:cubicBezTo>
                  <a:pt x="141" y="31"/>
                  <a:pt x="141" y="31"/>
                  <a:pt x="141" y="31"/>
                </a:cubicBezTo>
                <a:cubicBezTo>
                  <a:pt x="142" y="32"/>
                  <a:pt x="145" y="32"/>
                  <a:pt x="146" y="31"/>
                </a:cubicBezTo>
                <a:cubicBezTo>
                  <a:pt x="147" y="29"/>
                  <a:pt x="147" y="27"/>
                  <a:pt x="146" y="25"/>
                </a:cubicBezTo>
                <a:cubicBezTo>
                  <a:pt x="146" y="25"/>
                  <a:pt x="146" y="25"/>
                  <a:pt x="145" y="25"/>
                </a:cubicBezTo>
                <a:cubicBezTo>
                  <a:pt x="130" y="10"/>
                  <a:pt x="109" y="0"/>
                  <a:pt x="85" y="0"/>
                </a:cubicBezTo>
                <a:cubicBezTo>
                  <a:pt x="38" y="0"/>
                  <a:pt x="0" y="38"/>
                  <a:pt x="0" y="85"/>
                </a:cubicBezTo>
                <a:cubicBezTo>
                  <a:pt x="0" y="132"/>
                  <a:pt x="38" y="170"/>
                  <a:pt x="85" y="170"/>
                </a:cubicBezTo>
                <a:cubicBezTo>
                  <a:pt x="132" y="170"/>
                  <a:pt x="170" y="132"/>
                  <a:pt x="170" y="85"/>
                </a:cubicBezTo>
                <a:cubicBezTo>
                  <a:pt x="170" y="74"/>
                  <a:pt x="168" y="63"/>
                  <a:pt x="164" y="54"/>
                </a:cubicBezTo>
                <a:cubicBezTo>
                  <a:pt x="164" y="53"/>
                  <a:pt x="164" y="53"/>
                  <a:pt x="163" y="52"/>
                </a:cubicBezTo>
                <a:moveTo>
                  <a:pt x="85" y="106"/>
                </a:moveTo>
                <a:cubicBezTo>
                  <a:pt x="49" y="70"/>
                  <a:pt x="49" y="70"/>
                  <a:pt x="49" y="70"/>
                </a:cubicBezTo>
                <a:cubicBezTo>
                  <a:pt x="48" y="70"/>
                  <a:pt x="47" y="69"/>
                  <a:pt x="46" y="69"/>
                </a:cubicBezTo>
                <a:cubicBezTo>
                  <a:pt x="44" y="69"/>
                  <a:pt x="42" y="71"/>
                  <a:pt x="42" y="73"/>
                </a:cubicBezTo>
                <a:cubicBezTo>
                  <a:pt x="42" y="74"/>
                  <a:pt x="43" y="75"/>
                  <a:pt x="44" y="76"/>
                </a:cubicBezTo>
                <a:cubicBezTo>
                  <a:pt x="82" y="115"/>
                  <a:pt x="82" y="115"/>
                  <a:pt x="82" y="115"/>
                </a:cubicBezTo>
                <a:cubicBezTo>
                  <a:pt x="83" y="115"/>
                  <a:pt x="84" y="116"/>
                  <a:pt x="85" y="116"/>
                </a:cubicBezTo>
                <a:cubicBezTo>
                  <a:pt x="86" y="116"/>
                  <a:pt x="87" y="115"/>
                  <a:pt x="88" y="114"/>
                </a:cubicBezTo>
                <a:cubicBezTo>
                  <a:pt x="88" y="115"/>
                  <a:pt x="88" y="115"/>
                  <a:pt x="88" y="115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52" y="47"/>
                  <a:pt x="152" y="47"/>
                  <a:pt x="152" y="47"/>
                </a:cubicBezTo>
                <a:cubicBezTo>
                  <a:pt x="158" y="41"/>
                  <a:pt x="158" y="41"/>
                  <a:pt x="158" y="41"/>
                </a:cubicBezTo>
                <a:cubicBezTo>
                  <a:pt x="158" y="41"/>
                  <a:pt x="158" y="41"/>
                  <a:pt x="158" y="41"/>
                </a:cubicBezTo>
                <a:cubicBezTo>
                  <a:pt x="169" y="29"/>
                  <a:pt x="169" y="29"/>
                  <a:pt x="169" y="29"/>
                </a:cubicBezTo>
                <a:cubicBezTo>
                  <a:pt x="169" y="29"/>
                  <a:pt x="169" y="29"/>
                  <a:pt x="169" y="29"/>
                </a:cubicBezTo>
                <a:cubicBezTo>
                  <a:pt x="170" y="29"/>
                  <a:pt x="170" y="28"/>
                  <a:pt x="170" y="27"/>
                </a:cubicBezTo>
                <a:cubicBezTo>
                  <a:pt x="170" y="25"/>
                  <a:pt x="168" y="23"/>
                  <a:pt x="166" y="23"/>
                </a:cubicBezTo>
                <a:cubicBezTo>
                  <a:pt x="165" y="23"/>
                  <a:pt x="164" y="23"/>
                  <a:pt x="163" y="24"/>
                </a:cubicBezTo>
                <a:cubicBezTo>
                  <a:pt x="163" y="24"/>
                  <a:pt x="163" y="24"/>
                  <a:pt x="163" y="24"/>
                </a:cubicBezTo>
                <a:cubicBezTo>
                  <a:pt x="153" y="35"/>
                  <a:pt x="153" y="35"/>
                  <a:pt x="153" y="35"/>
                </a:cubicBezTo>
                <a:cubicBezTo>
                  <a:pt x="153" y="35"/>
                  <a:pt x="153" y="35"/>
                  <a:pt x="153" y="35"/>
                </a:cubicBezTo>
                <a:cubicBezTo>
                  <a:pt x="148" y="40"/>
                  <a:pt x="148" y="40"/>
                  <a:pt x="148" y="40"/>
                </a:cubicBezTo>
                <a:cubicBezTo>
                  <a:pt x="148" y="40"/>
                  <a:pt x="148" y="40"/>
                  <a:pt x="148" y="40"/>
                </a:cubicBezTo>
                <a:cubicBezTo>
                  <a:pt x="85" y="106"/>
                  <a:pt x="85" y="106"/>
                  <a:pt x="85" y="106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72" name="Freeform 39">
            <a:extLst>
              <a:ext uri="{FF2B5EF4-FFF2-40B4-BE49-F238E27FC236}">
                <a16:creationId xmlns:a16="http://schemas.microsoft.com/office/drawing/2014/main" id="{AE455750-0ED5-431D-8021-BD044D0F8F39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7484259" y="1447319"/>
            <a:ext cx="482381" cy="432000"/>
          </a:xfrm>
          <a:custGeom>
            <a:avLst/>
            <a:gdLst>
              <a:gd name="T0" fmla="*/ 155 w 170"/>
              <a:gd name="T1" fmla="*/ 40 h 163"/>
              <a:gd name="T2" fmla="*/ 166 w 170"/>
              <a:gd name="T3" fmla="*/ 45 h 163"/>
              <a:gd name="T4" fmla="*/ 169 w 170"/>
              <a:gd name="T5" fmla="*/ 45 h 163"/>
              <a:gd name="T6" fmla="*/ 170 w 170"/>
              <a:gd name="T7" fmla="*/ 15 h 163"/>
              <a:gd name="T8" fmla="*/ 152 w 170"/>
              <a:gd name="T9" fmla="*/ 6 h 163"/>
              <a:gd name="T10" fmla="*/ 134 w 170"/>
              <a:gd name="T11" fmla="*/ 3 h 163"/>
              <a:gd name="T12" fmla="*/ 128 w 170"/>
              <a:gd name="T13" fmla="*/ 0 h 163"/>
              <a:gd name="T14" fmla="*/ 121 w 170"/>
              <a:gd name="T15" fmla="*/ 33 h 163"/>
              <a:gd name="T16" fmla="*/ 82 w 170"/>
              <a:gd name="T17" fmla="*/ 0 h 163"/>
              <a:gd name="T18" fmla="*/ 0 w 170"/>
              <a:gd name="T19" fmla="*/ 81 h 163"/>
              <a:gd name="T20" fmla="*/ 5 w 170"/>
              <a:gd name="T21" fmla="*/ 84 h 163"/>
              <a:gd name="T22" fmla="*/ 23 w 170"/>
              <a:gd name="T23" fmla="*/ 160 h 163"/>
              <a:gd name="T24" fmla="*/ 142 w 170"/>
              <a:gd name="T25" fmla="*/ 163 h 163"/>
              <a:gd name="T26" fmla="*/ 145 w 170"/>
              <a:gd name="T27" fmla="*/ 66 h 163"/>
              <a:gd name="T28" fmla="*/ 166 w 170"/>
              <a:gd name="T29" fmla="*/ 84 h 163"/>
              <a:gd name="T30" fmla="*/ 169 w 170"/>
              <a:gd name="T31" fmla="*/ 80 h 163"/>
              <a:gd name="T32" fmla="*/ 135 w 170"/>
              <a:gd name="T33" fmla="*/ 38 h 163"/>
              <a:gd name="T34" fmla="*/ 101 w 170"/>
              <a:gd name="T35" fmla="*/ 157 h 163"/>
              <a:gd name="T36" fmla="*/ 68 w 170"/>
              <a:gd name="T37" fmla="*/ 95 h 163"/>
              <a:gd name="T38" fmla="*/ 101 w 170"/>
              <a:gd name="T39" fmla="*/ 157 h 163"/>
              <a:gd name="T40" fmla="*/ 106 w 170"/>
              <a:gd name="T41" fmla="*/ 157 h 163"/>
              <a:gd name="T42" fmla="*/ 103 w 170"/>
              <a:gd name="T43" fmla="*/ 89 h 163"/>
              <a:gd name="T44" fmla="*/ 62 w 170"/>
              <a:gd name="T45" fmla="*/ 92 h 163"/>
              <a:gd name="T46" fmla="*/ 29 w 170"/>
              <a:gd name="T47" fmla="*/ 157 h 163"/>
              <a:gd name="T48" fmla="*/ 85 w 170"/>
              <a:gd name="T49" fmla="*/ 7 h 163"/>
              <a:gd name="T50" fmla="*/ 139 w 170"/>
              <a:gd name="T51" fmla="*/ 157 h 163"/>
              <a:gd name="T52" fmla="*/ 126 w 170"/>
              <a:gd name="T53" fmla="*/ 7 h 163"/>
              <a:gd name="T54" fmla="*/ 130 w 170"/>
              <a:gd name="T55" fmla="*/ 6 h 163"/>
              <a:gd name="T56" fmla="*/ 135 w 170"/>
              <a:gd name="T57" fmla="*/ 10 h 163"/>
              <a:gd name="T58" fmla="*/ 152 w 170"/>
              <a:gd name="T59" fmla="*/ 12 h 163"/>
              <a:gd name="T60" fmla="*/ 164 w 170"/>
              <a:gd name="T61" fmla="*/ 36 h 163"/>
              <a:gd name="T62" fmla="*/ 154 w 170"/>
              <a:gd name="T63" fmla="*/ 34 h 163"/>
              <a:gd name="T64" fmla="*/ 136 w 170"/>
              <a:gd name="T65" fmla="*/ 33 h 163"/>
              <a:gd name="T66" fmla="*/ 132 w 170"/>
              <a:gd name="T67" fmla="*/ 29 h 163"/>
              <a:gd name="T68" fmla="*/ 130 w 170"/>
              <a:gd name="T69" fmla="*/ 34 h 163"/>
              <a:gd name="T70" fmla="*/ 126 w 170"/>
              <a:gd name="T71" fmla="*/ 38 h 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70" h="163">
                <a:moveTo>
                  <a:pt x="143" y="40"/>
                </a:moveTo>
                <a:cubicBezTo>
                  <a:pt x="148" y="40"/>
                  <a:pt x="151" y="40"/>
                  <a:pt x="155" y="40"/>
                </a:cubicBezTo>
                <a:cubicBezTo>
                  <a:pt x="158" y="40"/>
                  <a:pt x="161" y="40"/>
                  <a:pt x="164" y="43"/>
                </a:cubicBezTo>
                <a:cubicBezTo>
                  <a:pt x="164" y="43"/>
                  <a:pt x="164" y="43"/>
                  <a:pt x="166" y="45"/>
                </a:cubicBezTo>
                <a:cubicBezTo>
                  <a:pt x="166" y="45"/>
                  <a:pt x="166" y="45"/>
                  <a:pt x="167" y="45"/>
                </a:cubicBezTo>
                <a:cubicBezTo>
                  <a:pt x="167" y="45"/>
                  <a:pt x="167" y="45"/>
                  <a:pt x="169" y="45"/>
                </a:cubicBezTo>
                <a:cubicBezTo>
                  <a:pt x="169" y="45"/>
                  <a:pt x="170" y="43"/>
                  <a:pt x="170" y="42"/>
                </a:cubicBezTo>
                <a:cubicBezTo>
                  <a:pt x="170" y="42"/>
                  <a:pt x="170" y="42"/>
                  <a:pt x="170" y="15"/>
                </a:cubicBezTo>
                <a:cubicBezTo>
                  <a:pt x="170" y="13"/>
                  <a:pt x="170" y="13"/>
                  <a:pt x="169" y="12"/>
                </a:cubicBezTo>
                <a:cubicBezTo>
                  <a:pt x="164" y="7"/>
                  <a:pt x="158" y="6"/>
                  <a:pt x="152" y="6"/>
                </a:cubicBezTo>
                <a:cubicBezTo>
                  <a:pt x="149" y="7"/>
                  <a:pt x="146" y="7"/>
                  <a:pt x="143" y="7"/>
                </a:cubicBezTo>
                <a:cubicBezTo>
                  <a:pt x="140" y="7"/>
                  <a:pt x="137" y="6"/>
                  <a:pt x="134" y="3"/>
                </a:cubicBezTo>
                <a:cubicBezTo>
                  <a:pt x="133" y="2"/>
                  <a:pt x="133" y="2"/>
                  <a:pt x="133" y="2"/>
                </a:cubicBezTo>
                <a:cubicBezTo>
                  <a:pt x="132" y="1"/>
                  <a:pt x="130" y="0"/>
                  <a:pt x="128" y="0"/>
                </a:cubicBezTo>
                <a:cubicBezTo>
                  <a:pt x="124" y="0"/>
                  <a:pt x="121" y="3"/>
                  <a:pt x="121" y="7"/>
                </a:cubicBezTo>
                <a:cubicBezTo>
                  <a:pt x="121" y="21"/>
                  <a:pt x="121" y="29"/>
                  <a:pt x="121" y="33"/>
                </a:cubicBezTo>
                <a:cubicBezTo>
                  <a:pt x="87" y="0"/>
                  <a:pt x="87" y="0"/>
                  <a:pt x="87" y="0"/>
                </a:cubicBezTo>
                <a:cubicBezTo>
                  <a:pt x="82" y="0"/>
                  <a:pt x="82" y="0"/>
                  <a:pt x="82" y="0"/>
                </a:cubicBezTo>
                <a:cubicBezTo>
                  <a:pt x="1" y="79"/>
                  <a:pt x="1" y="79"/>
                  <a:pt x="1" y="79"/>
                </a:cubicBezTo>
                <a:cubicBezTo>
                  <a:pt x="0" y="80"/>
                  <a:pt x="0" y="81"/>
                  <a:pt x="0" y="81"/>
                </a:cubicBezTo>
                <a:cubicBezTo>
                  <a:pt x="0" y="83"/>
                  <a:pt x="0" y="84"/>
                  <a:pt x="3" y="84"/>
                </a:cubicBezTo>
                <a:cubicBezTo>
                  <a:pt x="4" y="84"/>
                  <a:pt x="5" y="84"/>
                  <a:pt x="5" y="84"/>
                </a:cubicBezTo>
                <a:cubicBezTo>
                  <a:pt x="23" y="66"/>
                  <a:pt x="23" y="66"/>
                  <a:pt x="23" y="66"/>
                </a:cubicBezTo>
                <a:cubicBezTo>
                  <a:pt x="23" y="160"/>
                  <a:pt x="23" y="160"/>
                  <a:pt x="23" y="160"/>
                </a:cubicBezTo>
                <a:cubicBezTo>
                  <a:pt x="23" y="161"/>
                  <a:pt x="24" y="163"/>
                  <a:pt x="26" y="163"/>
                </a:cubicBezTo>
                <a:cubicBezTo>
                  <a:pt x="142" y="163"/>
                  <a:pt x="142" y="163"/>
                  <a:pt x="142" y="163"/>
                </a:cubicBezTo>
                <a:cubicBezTo>
                  <a:pt x="144" y="163"/>
                  <a:pt x="145" y="161"/>
                  <a:pt x="145" y="160"/>
                </a:cubicBezTo>
                <a:cubicBezTo>
                  <a:pt x="145" y="66"/>
                  <a:pt x="145" y="66"/>
                  <a:pt x="145" y="66"/>
                </a:cubicBezTo>
                <a:cubicBezTo>
                  <a:pt x="164" y="84"/>
                  <a:pt x="164" y="84"/>
                  <a:pt x="164" y="84"/>
                </a:cubicBezTo>
                <a:cubicBezTo>
                  <a:pt x="165" y="84"/>
                  <a:pt x="166" y="84"/>
                  <a:pt x="166" y="84"/>
                </a:cubicBezTo>
                <a:cubicBezTo>
                  <a:pt x="168" y="84"/>
                  <a:pt x="169" y="83"/>
                  <a:pt x="169" y="82"/>
                </a:cubicBezTo>
                <a:cubicBezTo>
                  <a:pt x="169" y="82"/>
                  <a:pt x="169" y="81"/>
                  <a:pt x="169" y="80"/>
                </a:cubicBezTo>
                <a:cubicBezTo>
                  <a:pt x="155" y="67"/>
                  <a:pt x="144" y="56"/>
                  <a:pt x="135" y="47"/>
                </a:cubicBezTo>
                <a:cubicBezTo>
                  <a:pt x="135" y="38"/>
                  <a:pt x="135" y="38"/>
                  <a:pt x="135" y="38"/>
                </a:cubicBezTo>
                <a:cubicBezTo>
                  <a:pt x="138" y="40"/>
                  <a:pt x="140" y="40"/>
                  <a:pt x="143" y="40"/>
                </a:cubicBezTo>
                <a:close/>
                <a:moveTo>
                  <a:pt x="101" y="157"/>
                </a:moveTo>
                <a:cubicBezTo>
                  <a:pt x="68" y="157"/>
                  <a:pt x="68" y="157"/>
                  <a:pt x="68" y="157"/>
                </a:cubicBezTo>
                <a:cubicBezTo>
                  <a:pt x="68" y="95"/>
                  <a:pt x="68" y="95"/>
                  <a:pt x="68" y="95"/>
                </a:cubicBezTo>
                <a:cubicBezTo>
                  <a:pt x="101" y="95"/>
                  <a:pt x="101" y="95"/>
                  <a:pt x="101" y="95"/>
                </a:cubicBezTo>
                <a:lnTo>
                  <a:pt x="101" y="157"/>
                </a:lnTo>
                <a:close/>
                <a:moveTo>
                  <a:pt x="139" y="157"/>
                </a:moveTo>
                <a:cubicBezTo>
                  <a:pt x="106" y="157"/>
                  <a:pt x="106" y="157"/>
                  <a:pt x="106" y="157"/>
                </a:cubicBezTo>
                <a:cubicBezTo>
                  <a:pt x="106" y="92"/>
                  <a:pt x="106" y="92"/>
                  <a:pt x="106" y="92"/>
                </a:cubicBezTo>
                <a:cubicBezTo>
                  <a:pt x="106" y="91"/>
                  <a:pt x="105" y="89"/>
                  <a:pt x="103" y="89"/>
                </a:cubicBezTo>
                <a:cubicBezTo>
                  <a:pt x="65" y="89"/>
                  <a:pt x="65" y="89"/>
                  <a:pt x="65" y="89"/>
                </a:cubicBezTo>
                <a:cubicBezTo>
                  <a:pt x="63" y="89"/>
                  <a:pt x="62" y="91"/>
                  <a:pt x="62" y="92"/>
                </a:cubicBezTo>
                <a:cubicBezTo>
                  <a:pt x="62" y="157"/>
                  <a:pt x="62" y="157"/>
                  <a:pt x="62" y="157"/>
                </a:cubicBezTo>
                <a:cubicBezTo>
                  <a:pt x="29" y="157"/>
                  <a:pt x="29" y="157"/>
                  <a:pt x="29" y="157"/>
                </a:cubicBezTo>
                <a:cubicBezTo>
                  <a:pt x="29" y="59"/>
                  <a:pt x="29" y="59"/>
                  <a:pt x="29" y="59"/>
                </a:cubicBezTo>
                <a:cubicBezTo>
                  <a:pt x="85" y="7"/>
                  <a:pt x="85" y="7"/>
                  <a:pt x="85" y="7"/>
                </a:cubicBezTo>
                <a:cubicBezTo>
                  <a:pt x="139" y="59"/>
                  <a:pt x="139" y="59"/>
                  <a:pt x="139" y="59"/>
                </a:cubicBezTo>
                <a:lnTo>
                  <a:pt x="139" y="157"/>
                </a:lnTo>
                <a:close/>
                <a:moveTo>
                  <a:pt x="126" y="38"/>
                </a:moveTo>
                <a:cubicBezTo>
                  <a:pt x="126" y="7"/>
                  <a:pt x="126" y="7"/>
                  <a:pt x="126" y="7"/>
                </a:cubicBezTo>
                <a:cubicBezTo>
                  <a:pt x="126" y="6"/>
                  <a:pt x="127" y="5"/>
                  <a:pt x="128" y="5"/>
                </a:cubicBezTo>
                <a:cubicBezTo>
                  <a:pt x="129" y="5"/>
                  <a:pt x="129" y="5"/>
                  <a:pt x="130" y="6"/>
                </a:cubicBezTo>
                <a:cubicBezTo>
                  <a:pt x="135" y="10"/>
                  <a:pt x="135" y="10"/>
                  <a:pt x="135" y="10"/>
                </a:cubicBezTo>
                <a:cubicBezTo>
                  <a:pt x="136" y="10"/>
                  <a:pt x="135" y="10"/>
                  <a:pt x="135" y="10"/>
                </a:cubicBezTo>
                <a:cubicBezTo>
                  <a:pt x="137" y="12"/>
                  <a:pt x="140" y="13"/>
                  <a:pt x="143" y="13"/>
                </a:cubicBezTo>
                <a:cubicBezTo>
                  <a:pt x="146" y="13"/>
                  <a:pt x="149" y="13"/>
                  <a:pt x="152" y="12"/>
                </a:cubicBezTo>
                <a:cubicBezTo>
                  <a:pt x="157" y="12"/>
                  <a:pt x="161" y="13"/>
                  <a:pt x="164" y="16"/>
                </a:cubicBezTo>
                <a:cubicBezTo>
                  <a:pt x="164" y="16"/>
                  <a:pt x="164" y="16"/>
                  <a:pt x="164" y="36"/>
                </a:cubicBezTo>
                <a:cubicBezTo>
                  <a:pt x="161" y="34"/>
                  <a:pt x="158" y="34"/>
                  <a:pt x="155" y="34"/>
                </a:cubicBezTo>
                <a:cubicBezTo>
                  <a:pt x="155" y="34"/>
                  <a:pt x="155" y="34"/>
                  <a:pt x="154" y="34"/>
                </a:cubicBezTo>
                <a:cubicBezTo>
                  <a:pt x="151" y="34"/>
                  <a:pt x="146" y="34"/>
                  <a:pt x="143" y="34"/>
                </a:cubicBezTo>
                <a:cubicBezTo>
                  <a:pt x="140" y="34"/>
                  <a:pt x="138" y="34"/>
                  <a:pt x="136" y="33"/>
                </a:cubicBezTo>
                <a:cubicBezTo>
                  <a:pt x="136" y="32"/>
                  <a:pt x="135" y="32"/>
                  <a:pt x="135" y="32"/>
                </a:cubicBezTo>
                <a:cubicBezTo>
                  <a:pt x="132" y="30"/>
                  <a:pt x="132" y="29"/>
                  <a:pt x="132" y="29"/>
                </a:cubicBezTo>
                <a:cubicBezTo>
                  <a:pt x="130" y="30"/>
                  <a:pt x="130" y="30"/>
                  <a:pt x="130" y="30"/>
                </a:cubicBezTo>
                <a:cubicBezTo>
                  <a:pt x="130" y="34"/>
                  <a:pt x="130" y="34"/>
                  <a:pt x="130" y="34"/>
                </a:cubicBezTo>
                <a:cubicBezTo>
                  <a:pt x="130" y="39"/>
                  <a:pt x="130" y="41"/>
                  <a:pt x="130" y="42"/>
                </a:cubicBezTo>
                <a:cubicBezTo>
                  <a:pt x="128" y="40"/>
                  <a:pt x="127" y="39"/>
                  <a:pt x="126" y="38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/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1F27112-D4B7-491D-A2F1-76ABE0B4254C}"/>
              </a:ext>
            </a:extLst>
          </p:cNvPr>
          <p:cNvSpPr txBox="1"/>
          <p:nvPr/>
        </p:nvSpPr>
        <p:spPr>
          <a:xfrm>
            <a:off x="311530" y="2677290"/>
            <a:ext cx="1886010" cy="34778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>
                <a:solidFill>
                  <a:sysClr val="windowText" lastClr="000000"/>
                </a:solidFill>
              </a:rPr>
              <a:t>           Fill out a paper form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at your local: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council off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kindergar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MCH serv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support service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Or online at [</a:t>
            </a:r>
            <a:r>
              <a:rPr lang="en-AU" sz="1100" dirty="0">
                <a:solidFill>
                  <a:sysClr val="windowText" lastClr="000000"/>
                </a:solidFill>
                <a:highlight>
                  <a:srgbClr val="FFFF00"/>
                </a:highlight>
              </a:rPr>
              <a:t>link to CRES landing page].</a:t>
            </a:r>
          </a:p>
          <a:p>
            <a:endParaRPr lang="en-AU" sz="1100" dirty="0">
              <a:solidFill>
                <a:sysClr val="windowText" lastClr="000000"/>
              </a:solidFill>
            </a:endParaRP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Registration costs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$</a:t>
            </a:r>
            <a:r>
              <a:rPr lang="en-AU" sz="1100" dirty="0">
                <a:solidFill>
                  <a:sysClr val="windowText" lastClr="000000"/>
                </a:solidFill>
                <a:highlight>
                  <a:srgbClr val="FFFF00"/>
                </a:highlight>
              </a:rPr>
              <a:t>XX</a:t>
            </a:r>
            <a:r>
              <a:rPr lang="en-AU" sz="1100" dirty="0">
                <a:solidFill>
                  <a:sysClr val="windowText" lastClr="000000"/>
                </a:solidFill>
              </a:rPr>
              <a:t>, but there is no cost if your child meets the criteria in the next column.</a:t>
            </a:r>
          </a:p>
          <a:p>
            <a:endParaRPr lang="en-AU" sz="1100" dirty="0">
              <a:solidFill>
                <a:sysClr val="windowText" lastClr="000000"/>
              </a:solidFill>
            </a:endParaRPr>
          </a:p>
          <a:p>
            <a:pPr lvl="0"/>
            <a:r>
              <a:rPr lang="en-AU" sz="1100" dirty="0">
                <a:solidFill>
                  <a:sysClr val="windowText" lastClr="000000"/>
                </a:solidFill>
              </a:rPr>
              <a:t>           Registrations are </a:t>
            </a:r>
          </a:p>
          <a:p>
            <a:pPr lvl="0"/>
            <a:r>
              <a:rPr lang="en-AU" sz="1100" dirty="0">
                <a:solidFill>
                  <a:sysClr val="windowText" lastClr="000000"/>
                </a:solidFill>
              </a:rPr>
              <a:t>           open from 1 March to 30 May. You can still register after this, but first round registrations will be considered first. </a:t>
            </a:r>
            <a:endParaRPr lang="en-AU" dirty="0">
              <a:solidFill>
                <a:sysClr val="windowText" lastClr="000000"/>
              </a:solidFill>
            </a:endParaRP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C36C3877-9BC6-44AF-9A90-9B699C1DABC1}"/>
              </a:ext>
            </a:extLst>
          </p:cNvPr>
          <p:cNvGrpSpPr>
            <a:grpSpLocks noChangeAspect="1"/>
          </p:cNvGrpSpPr>
          <p:nvPr/>
        </p:nvGrpSpPr>
        <p:grpSpPr>
          <a:xfrm>
            <a:off x="393090" y="2726106"/>
            <a:ext cx="311163" cy="360000"/>
            <a:chOff x="3151063" y="1100138"/>
            <a:chExt cx="436564" cy="539750"/>
          </a:xfrm>
          <a:solidFill>
            <a:schemeClr val="tx2"/>
          </a:solidFill>
        </p:grpSpPr>
        <p:sp>
          <p:nvSpPr>
            <p:cNvPr id="97" name="Freeform 25">
              <a:extLst>
                <a:ext uri="{FF2B5EF4-FFF2-40B4-BE49-F238E27FC236}">
                  <a16:creationId xmlns:a16="http://schemas.microsoft.com/office/drawing/2014/main" id="{513214FB-2C74-455F-A14C-1461D494D4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8" name="Freeform 26">
              <a:extLst>
                <a:ext uri="{FF2B5EF4-FFF2-40B4-BE49-F238E27FC236}">
                  <a16:creationId xmlns:a16="http://schemas.microsoft.com/office/drawing/2014/main" id="{DD2DD06F-D68E-4DF9-AC3A-03283AB1C6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9" name="Freeform 27">
              <a:extLst>
                <a:ext uri="{FF2B5EF4-FFF2-40B4-BE49-F238E27FC236}">
                  <a16:creationId xmlns:a16="http://schemas.microsoft.com/office/drawing/2014/main" id="{7B6A8E14-2C18-441D-B0F4-3055F217D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00" name="Freeform 28">
              <a:extLst>
                <a:ext uri="{FF2B5EF4-FFF2-40B4-BE49-F238E27FC236}">
                  <a16:creationId xmlns:a16="http://schemas.microsoft.com/office/drawing/2014/main" id="{DFEAA8F7-38ED-4522-9380-7DB10E7B2A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01" name="Freeform 29">
              <a:extLst>
                <a:ext uri="{FF2B5EF4-FFF2-40B4-BE49-F238E27FC236}">
                  <a16:creationId xmlns:a16="http://schemas.microsoft.com/office/drawing/2014/main" id="{B3EFF7AB-7881-4196-A1D8-FEBE9C2B9BD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102" name="Freeform 38">
            <a:extLst>
              <a:ext uri="{FF2B5EF4-FFF2-40B4-BE49-F238E27FC236}">
                <a16:creationId xmlns:a16="http://schemas.microsoft.com/office/drawing/2014/main" id="{28E2437F-D690-4C44-9AA9-E0B4B1064A4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04324" y="4244817"/>
            <a:ext cx="360000" cy="360000"/>
          </a:xfrm>
          <a:custGeom>
            <a:avLst/>
            <a:gdLst>
              <a:gd name="T0" fmla="*/ 8 w 171"/>
              <a:gd name="T1" fmla="*/ 85 h 170"/>
              <a:gd name="T2" fmla="*/ 163 w 171"/>
              <a:gd name="T3" fmla="*/ 85 h 170"/>
              <a:gd name="T4" fmla="*/ 85 w 171"/>
              <a:gd name="T5" fmla="*/ 0 h 170"/>
              <a:gd name="T6" fmla="*/ 85 w 171"/>
              <a:gd name="T7" fmla="*/ 170 h 170"/>
              <a:gd name="T8" fmla="*/ 85 w 171"/>
              <a:gd name="T9" fmla="*/ 0 h 170"/>
              <a:gd name="T10" fmla="*/ 88 w 171"/>
              <a:gd name="T11" fmla="*/ 109 h 170"/>
              <a:gd name="T12" fmla="*/ 91 w 171"/>
              <a:gd name="T13" fmla="*/ 90 h 170"/>
              <a:gd name="T14" fmla="*/ 97 w 171"/>
              <a:gd name="T15" fmla="*/ 95 h 170"/>
              <a:gd name="T16" fmla="*/ 95 w 171"/>
              <a:gd name="T17" fmla="*/ 107 h 170"/>
              <a:gd name="T18" fmla="*/ 80 w 171"/>
              <a:gd name="T19" fmla="*/ 76 h 170"/>
              <a:gd name="T20" fmla="*/ 75 w 171"/>
              <a:gd name="T21" fmla="*/ 72 h 170"/>
              <a:gd name="T22" fmla="*/ 76 w 171"/>
              <a:gd name="T23" fmla="*/ 62 h 170"/>
              <a:gd name="T24" fmla="*/ 83 w 171"/>
              <a:gd name="T25" fmla="*/ 77 h 170"/>
              <a:gd name="T26" fmla="*/ 95 w 171"/>
              <a:gd name="T27" fmla="*/ 81 h 170"/>
              <a:gd name="T28" fmla="*/ 88 w 171"/>
              <a:gd name="T29" fmla="*/ 60 h 170"/>
              <a:gd name="T30" fmla="*/ 96 w 171"/>
              <a:gd name="T31" fmla="*/ 69 h 170"/>
              <a:gd name="T32" fmla="*/ 104 w 171"/>
              <a:gd name="T33" fmla="*/ 61 h 170"/>
              <a:gd name="T34" fmla="*/ 94 w 171"/>
              <a:gd name="T35" fmla="*/ 53 h 170"/>
              <a:gd name="T36" fmla="*/ 88 w 171"/>
              <a:gd name="T37" fmla="*/ 46 h 170"/>
              <a:gd name="T38" fmla="*/ 83 w 171"/>
              <a:gd name="T39" fmla="*/ 52 h 170"/>
              <a:gd name="T40" fmla="*/ 70 w 171"/>
              <a:gd name="T41" fmla="*/ 56 h 170"/>
              <a:gd name="T42" fmla="*/ 64 w 171"/>
              <a:gd name="T43" fmla="*/ 69 h 170"/>
              <a:gd name="T44" fmla="*/ 70 w 171"/>
              <a:gd name="T45" fmla="*/ 82 h 170"/>
              <a:gd name="T46" fmla="*/ 83 w 171"/>
              <a:gd name="T47" fmla="*/ 88 h 170"/>
              <a:gd name="T48" fmla="*/ 75 w 171"/>
              <a:gd name="T49" fmla="*/ 106 h 170"/>
              <a:gd name="T50" fmla="*/ 63 w 171"/>
              <a:gd name="T51" fmla="*/ 97 h 170"/>
              <a:gd name="T52" fmla="*/ 68 w 171"/>
              <a:gd name="T53" fmla="*/ 112 h 170"/>
              <a:gd name="T54" fmla="*/ 83 w 171"/>
              <a:gd name="T55" fmla="*/ 117 h 170"/>
              <a:gd name="T56" fmla="*/ 88 w 171"/>
              <a:gd name="T57" fmla="*/ 123 h 170"/>
              <a:gd name="T58" fmla="*/ 95 w 171"/>
              <a:gd name="T59" fmla="*/ 116 h 170"/>
              <a:gd name="T60" fmla="*/ 106 w 171"/>
              <a:gd name="T61" fmla="*/ 106 h 170"/>
              <a:gd name="T62" fmla="*/ 105 w 171"/>
              <a:gd name="T63" fmla="*/ 9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1" h="170">
                <a:moveTo>
                  <a:pt x="85" y="162"/>
                </a:moveTo>
                <a:cubicBezTo>
                  <a:pt x="43" y="162"/>
                  <a:pt x="8" y="127"/>
                  <a:pt x="8" y="85"/>
                </a:cubicBezTo>
                <a:cubicBezTo>
                  <a:pt x="8" y="42"/>
                  <a:pt x="43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27"/>
                  <a:pt x="128" y="162"/>
                  <a:pt x="85" y="162"/>
                </a:cubicBezTo>
                <a:moveTo>
                  <a:pt x="85" y="0"/>
                </a:moveTo>
                <a:cubicBezTo>
                  <a:pt x="39" y="0"/>
                  <a:pt x="0" y="38"/>
                  <a:pt x="0" y="85"/>
                </a:cubicBezTo>
                <a:cubicBezTo>
                  <a:pt x="0" y="132"/>
                  <a:pt x="39" y="170"/>
                  <a:pt x="85" y="170"/>
                </a:cubicBezTo>
                <a:cubicBezTo>
                  <a:pt x="132" y="170"/>
                  <a:pt x="171" y="132"/>
                  <a:pt x="171" y="85"/>
                </a:cubicBezTo>
                <a:cubicBezTo>
                  <a:pt x="171" y="38"/>
                  <a:pt x="132" y="0"/>
                  <a:pt x="85" y="0"/>
                </a:cubicBezTo>
                <a:moveTo>
                  <a:pt x="95" y="107"/>
                </a:moveTo>
                <a:cubicBezTo>
                  <a:pt x="93" y="108"/>
                  <a:pt x="91" y="109"/>
                  <a:pt x="88" y="109"/>
                </a:cubicBezTo>
                <a:cubicBezTo>
                  <a:pt x="88" y="89"/>
                  <a:pt x="88" y="89"/>
                  <a:pt x="88" y="89"/>
                </a:cubicBezTo>
                <a:cubicBezTo>
                  <a:pt x="89" y="89"/>
                  <a:pt x="90" y="90"/>
                  <a:pt x="91" y="90"/>
                </a:cubicBezTo>
                <a:cubicBezTo>
                  <a:pt x="92" y="91"/>
                  <a:pt x="93" y="91"/>
                  <a:pt x="94" y="92"/>
                </a:cubicBezTo>
                <a:cubicBezTo>
                  <a:pt x="95" y="93"/>
                  <a:pt x="96" y="94"/>
                  <a:pt x="97" y="95"/>
                </a:cubicBezTo>
                <a:cubicBezTo>
                  <a:pt x="97" y="96"/>
                  <a:pt x="97" y="97"/>
                  <a:pt x="97" y="99"/>
                </a:cubicBezTo>
                <a:cubicBezTo>
                  <a:pt x="97" y="103"/>
                  <a:pt x="97" y="105"/>
                  <a:pt x="95" y="107"/>
                </a:cubicBezTo>
                <a:moveTo>
                  <a:pt x="83" y="77"/>
                </a:moveTo>
                <a:cubicBezTo>
                  <a:pt x="81" y="77"/>
                  <a:pt x="81" y="77"/>
                  <a:pt x="80" y="76"/>
                </a:cubicBezTo>
                <a:cubicBezTo>
                  <a:pt x="79" y="76"/>
                  <a:pt x="78" y="75"/>
                  <a:pt x="77" y="74"/>
                </a:cubicBezTo>
                <a:cubicBezTo>
                  <a:pt x="76" y="74"/>
                  <a:pt x="75" y="73"/>
                  <a:pt x="75" y="72"/>
                </a:cubicBezTo>
                <a:cubicBezTo>
                  <a:pt x="74" y="71"/>
                  <a:pt x="74" y="70"/>
                  <a:pt x="74" y="68"/>
                </a:cubicBezTo>
                <a:cubicBezTo>
                  <a:pt x="74" y="65"/>
                  <a:pt x="75" y="63"/>
                  <a:pt x="76" y="62"/>
                </a:cubicBezTo>
                <a:cubicBezTo>
                  <a:pt x="78" y="60"/>
                  <a:pt x="80" y="60"/>
                  <a:pt x="83" y="60"/>
                </a:cubicBezTo>
                <a:cubicBezTo>
                  <a:pt x="83" y="77"/>
                  <a:pt x="83" y="77"/>
                  <a:pt x="83" y="77"/>
                </a:cubicBezTo>
                <a:close/>
                <a:moveTo>
                  <a:pt x="101" y="84"/>
                </a:moveTo>
                <a:cubicBezTo>
                  <a:pt x="99" y="83"/>
                  <a:pt x="97" y="82"/>
                  <a:pt x="95" y="81"/>
                </a:cubicBezTo>
                <a:cubicBezTo>
                  <a:pt x="92" y="80"/>
                  <a:pt x="90" y="79"/>
                  <a:pt x="88" y="78"/>
                </a:cubicBezTo>
                <a:cubicBezTo>
                  <a:pt x="88" y="60"/>
                  <a:pt x="88" y="60"/>
                  <a:pt x="88" y="60"/>
                </a:cubicBezTo>
                <a:cubicBezTo>
                  <a:pt x="91" y="60"/>
                  <a:pt x="92" y="60"/>
                  <a:pt x="94" y="62"/>
                </a:cubicBezTo>
                <a:cubicBezTo>
                  <a:pt x="95" y="64"/>
                  <a:pt x="96" y="66"/>
                  <a:pt x="96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66"/>
                  <a:pt x="105" y="64"/>
                  <a:pt x="104" y="61"/>
                </a:cubicBezTo>
                <a:cubicBezTo>
                  <a:pt x="103" y="59"/>
                  <a:pt x="102" y="57"/>
                  <a:pt x="100" y="56"/>
                </a:cubicBezTo>
                <a:cubicBezTo>
                  <a:pt x="98" y="55"/>
                  <a:pt x="97" y="54"/>
                  <a:pt x="94" y="53"/>
                </a:cubicBezTo>
                <a:cubicBezTo>
                  <a:pt x="92" y="52"/>
                  <a:pt x="90" y="52"/>
                  <a:pt x="88" y="52"/>
                </a:cubicBezTo>
                <a:cubicBezTo>
                  <a:pt x="88" y="46"/>
                  <a:pt x="88" y="46"/>
                  <a:pt x="88" y="46"/>
                </a:cubicBezTo>
                <a:cubicBezTo>
                  <a:pt x="83" y="46"/>
                  <a:pt x="83" y="46"/>
                  <a:pt x="83" y="46"/>
                </a:cubicBezTo>
                <a:cubicBezTo>
                  <a:pt x="83" y="52"/>
                  <a:pt x="83" y="52"/>
                  <a:pt x="83" y="52"/>
                </a:cubicBezTo>
                <a:cubicBezTo>
                  <a:pt x="80" y="52"/>
                  <a:pt x="78" y="52"/>
                  <a:pt x="76" y="53"/>
                </a:cubicBezTo>
                <a:cubicBezTo>
                  <a:pt x="74" y="54"/>
                  <a:pt x="72" y="55"/>
                  <a:pt x="70" y="56"/>
                </a:cubicBezTo>
                <a:cubicBezTo>
                  <a:pt x="68" y="58"/>
                  <a:pt x="67" y="59"/>
                  <a:pt x="66" y="62"/>
                </a:cubicBezTo>
                <a:cubicBezTo>
                  <a:pt x="65" y="64"/>
                  <a:pt x="64" y="66"/>
                  <a:pt x="64" y="69"/>
                </a:cubicBezTo>
                <a:cubicBezTo>
                  <a:pt x="64" y="72"/>
                  <a:pt x="65" y="75"/>
                  <a:pt x="66" y="77"/>
                </a:cubicBezTo>
                <a:cubicBezTo>
                  <a:pt x="67" y="79"/>
                  <a:pt x="68" y="81"/>
                  <a:pt x="70" y="82"/>
                </a:cubicBezTo>
                <a:cubicBezTo>
                  <a:pt x="72" y="84"/>
                  <a:pt x="74" y="85"/>
                  <a:pt x="76" y="86"/>
                </a:cubicBezTo>
                <a:cubicBezTo>
                  <a:pt x="79" y="87"/>
                  <a:pt x="80" y="88"/>
                  <a:pt x="83" y="88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79" y="109"/>
                  <a:pt x="77" y="108"/>
                  <a:pt x="75" y="106"/>
                </a:cubicBezTo>
                <a:cubicBezTo>
                  <a:pt x="73" y="104"/>
                  <a:pt x="72" y="101"/>
                  <a:pt x="72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3" y="100"/>
                  <a:pt x="63" y="103"/>
                  <a:pt x="64" y="105"/>
                </a:cubicBezTo>
                <a:cubicBezTo>
                  <a:pt x="65" y="108"/>
                  <a:pt x="67" y="110"/>
                  <a:pt x="68" y="112"/>
                </a:cubicBezTo>
                <a:cubicBezTo>
                  <a:pt x="70" y="114"/>
                  <a:pt x="72" y="115"/>
                  <a:pt x="75" y="116"/>
                </a:cubicBezTo>
                <a:cubicBezTo>
                  <a:pt x="77" y="117"/>
                  <a:pt x="80" y="117"/>
                  <a:pt x="83" y="117"/>
                </a:cubicBezTo>
                <a:cubicBezTo>
                  <a:pt x="83" y="123"/>
                  <a:pt x="83" y="123"/>
                  <a:pt x="83" y="123"/>
                </a:cubicBezTo>
                <a:cubicBezTo>
                  <a:pt x="88" y="123"/>
                  <a:pt x="88" y="123"/>
                  <a:pt x="88" y="12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1" y="117"/>
                  <a:pt x="92" y="117"/>
                  <a:pt x="95" y="116"/>
                </a:cubicBezTo>
                <a:cubicBezTo>
                  <a:pt x="97" y="115"/>
                  <a:pt x="99" y="114"/>
                  <a:pt x="101" y="112"/>
                </a:cubicBezTo>
                <a:cubicBezTo>
                  <a:pt x="103" y="111"/>
                  <a:pt x="105" y="109"/>
                  <a:pt x="106" y="106"/>
                </a:cubicBezTo>
                <a:cubicBezTo>
                  <a:pt x="107" y="104"/>
                  <a:pt x="107" y="101"/>
                  <a:pt x="107" y="98"/>
                </a:cubicBezTo>
                <a:cubicBezTo>
                  <a:pt x="107" y="94"/>
                  <a:pt x="107" y="92"/>
                  <a:pt x="105" y="90"/>
                </a:cubicBezTo>
                <a:cubicBezTo>
                  <a:pt x="104" y="87"/>
                  <a:pt x="103" y="86"/>
                  <a:pt x="101" y="84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06" name="TextBox 105">
            <a:extLst>
              <a:ext uri="{FF2B5EF4-FFF2-40B4-BE49-F238E27FC236}">
                <a16:creationId xmlns:a16="http://schemas.microsoft.com/office/drawing/2014/main" id="{FA8528DB-53CD-408C-901F-238D2EB4B5AB}"/>
              </a:ext>
            </a:extLst>
          </p:cNvPr>
          <p:cNvSpPr txBox="1"/>
          <p:nvPr/>
        </p:nvSpPr>
        <p:spPr>
          <a:xfrm>
            <a:off x="2723293" y="2662992"/>
            <a:ext cx="1972537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 dirty="0">
                <a:solidFill>
                  <a:sysClr val="windowText" lastClr="000000"/>
                </a:solidFill>
              </a:rPr>
              <a:t>           Some children can              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           get priority allocation. They are also eligible for reduced cost or free kindergarten.</a:t>
            </a:r>
          </a:p>
          <a:p>
            <a:r>
              <a:rPr lang="en-AU" sz="1100" dirty="0">
                <a:solidFill>
                  <a:sysClr val="windowText" lastClr="000000"/>
                </a:solidFill>
              </a:rPr>
              <a:t>Your child is eligible if the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Aboriginal or Torres Strait Islan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known to Child Prot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Are a multiple birth child (triplet or quadruple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Hold, or have a parent or carer who hold: a humanitarian or refugee visa, a Commonwealth Health Care Card, a Pensioner Concession Card, or a Veteran’s Affairs Card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sz="1100" dirty="0">
                <a:solidFill>
                  <a:sysClr val="windowText" lastClr="000000"/>
                </a:solidFill>
              </a:rPr>
              <a:t>Have additional developmental needs</a:t>
            </a:r>
          </a:p>
        </p:txBody>
      </p:sp>
      <p:sp>
        <p:nvSpPr>
          <p:cNvPr id="107" name="Freeform 38">
            <a:extLst>
              <a:ext uri="{FF2B5EF4-FFF2-40B4-BE49-F238E27FC236}">
                <a16:creationId xmlns:a16="http://schemas.microsoft.com/office/drawing/2014/main" id="{38E8C3F4-D25F-4052-970F-F993A20FF8E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834128" y="2682247"/>
            <a:ext cx="365270" cy="365270"/>
          </a:xfrm>
          <a:custGeom>
            <a:avLst/>
            <a:gdLst>
              <a:gd name="T0" fmla="*/ 8 w 171"/>
              <a:gd name="T1" fmla="*/ 85 h 170"/>
              <a:gd name="T2" fmla="*/ 163 w 171"/>
              <a:gd name="T3" fmla="*/ 85 h 170"/>
              <a:gd name="T4" fmla="*/ 85 w 171"/>
              <a:gd name="T5" fmla="*/ 0 h 170"/>
              <a:gd name="T6" fmla="*/ 85 w 171"/>
              <a:gd name="T7" fmla="*/ 170 h 170"/>
              <a:gd name="T8" fmla="*/ 85 w 171"/>
              <a:gd name="T9" fmla="*/ 0 h 170"/>
              <a:gd name="T10" fmla="*/ 88 w 171"/>
              <a:gd name="T11" fmla="*/ 109 h 170"/>
              <a:gd name="T12" fmla="*/ 91 w 171"/>
              <a:gd name="T13" fmla="*/ 90 h 170"/>
              <a:gd name="T14" fmla="*/ 97 w 171"/>
              <a:gd name="T15" fmla="*/ 95 h 170"/>
              <a:gd name="T16" fmla="*/ 95 w 171"/>
              <a:gd name="T17" fmla="*/ 107 h 170"/>
              <a:gd name="T18" fmla="*/ 80 w 171"/>
              <a:gd name="T19" fmla="*/ 76 h 170"/>
              <a:gd name="T20" fmla="*/ 75 w 171"/>
              <a:gd name="T21" fmla="*/ 72 h 170"/>
              <a:gd name="T22" fmla="*/ 76 w 171"/>
              <a:gd name="T23" fmla="*/ 62 h 170"/>
              <a:gd name="T24" fmla="*/ 83 w 171"/>
              <a:gd name="T25" fmla="*/ 77 h 170"/>
              <a:gd name="T26" fmla="*/ 95 w 171"/>
              <a:gd name="T27" fmla="*/ 81 h 170"/>
              <a:gd name="T28" fmla="*/ 88 w 171"/>
              <a:gd name="T29" fmla="*/ 60 h 170"/>
              <a:gd name="T30" fmla="*/ 96 w 171"/>
              <a:gd name="T31" fmla="*/ 69 h 170"/>
              <a:gd name="T32" fmla="*/ 104 w 171"/>
              <a:gd name="T33" fmla="*/ 61 h 170"/>
              <a:gd name="T34" fmla="*/ 94 w 171"/>
              <a:gd name="T35" fmla="*/ 53 h 170"/>
              <a:gd name="T36" fmla="*/ 88 w 171"/>
              <a:gd name="T37" fmla="*/ 46 h 170"/>
              <a:gd name="T38" fmla="*/ 83 w 171"/>
              <a:gd name="T39" fmla="*/ 52 h 170"/>
              <a:gd name="T40" fmla="*/ 70 w 171"/>
              <a:gd name="T41" fmla="*/ 56 h 170"/>
              <a:gd name="T42" fmla="*/ 64 w 171"/>
              <a:gd name="T43" fmla="*/ 69 h 170"/>
              <a:gd name="T44" fmla="*/ 70 w 171"/>
              <a:gd name="T45" fmla="*/ 82 h 170"/>
              <a:gd name="T46" fmla="*/ 83 w 171"/>
              <a:gd name="T47" fmla="*/ 88 h 170"/>
              <a:gd name="T48" fmla="*/ 75 w 171"/>
              <a:gd name="T49" fmla="*/ 106 h 170"/>
              <a:gd name="T50" fmla="*/ 63 w 171"/>
              <a:gd name="T51" fmla="*/ 97 h 170"/>
              <a:gd name="T52" fmla="*/ 68 w 171"/>
              <a:gd name="T53" fmla="*/ 112 h 170"/>
              <a:gd name="T54" fmla="*/ 83 w 171"/>
              <a:gd name="T55" fmla="*/ 117 h 170"/>
              <a:gd name="T56" fmla="*/ 88 w 171"/>
              <a:gd name="T57" fmla="*/ 123 h 170"/>
              <a:gd name="T58" fmla="*/ 95 w 171"/>
              <a:gd name="T59" fmla="*/ 116 h 170"/>
              <a:gd name="T60" fmla="*/ 106 w 171"/>
              <a:gd name="T61" fmla="*/ 106 h 170"/>
              <a:gd name="T62" fmla="*/ 105 w 171"/>
              <a:gd name="T63" fmla="*/ 90 h 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71" h="170">
                <a:moveTo>
                  <a:pt x="85" y="162"/>
                </a:moveTo>
                <a:cubicBezTo>
                  <a:pt x="43" y="162"/>
                  <a:pt x="8" y="127"/>
                  <a:pt x="8" y="85"/>
                </a:cubicBezTo>
                <a:cubicBezTo>
                  <a:pt x="8" y="42"/>
                  <a:pt x="43" y="7"/>
                  <a:pt x="85" y="7"/>
                </a:cubicBezTo>
                <a:cubicBezTo>
                  <a:pt x="128" y="7"/>
                  <a:pt x="163" y="42"/>
                  <a:pt x="163" y="85"/>
                </a:cubicBezTo>
                <a:cubicBezTo>
                  <a:pt x="163" y="127"/>
                  <a:pt x="128" y="162"/>
                  <a:pt x="85" y="162"/>
                </a:cubicBezTo>
                <a:moveTo>
                  <a:pt x="85" y="0"/>
                </a:moveTo>
                <a:cubicBezTo>
                  <a:pt x="39" y="0"/>
                  <a:pt x="0" y="38"/>
                  <a:pt x="0" y="85"/>
                </a:cubicBezTo>
                <a:cubicBezTo>
                  <a:pt x="0" y="132"/>
                  <a:pt x="39" y="170"/>
                  <a:pt x="85" y="170"/>
                </a:cubicBezTo>
                <a:cubicBezTo>
                  <a:pt x="132" y="170"/>
                  <a:pt x="171" y="132"/>
                  <a:pt x="171" y="85"/>
                </a:cubicBezTo>
                <a:cubicBezTo>
                  <a:pt x="171" y="38"/>
                  <a:pt x="132" y="0"/>
                  <a:pt x="85" y="0"/>
                </a:cubicBezTo>
                <a:moveTo>
                  <a:pt x="95" y="107"/>
                </a:moveTo>
                <a:cubicBezTo>
                  <a:pt x="93" y="108"/>
                  <a:pt x="91" y="109"/>
                  <a:pt x="88" y="109"/>
                </a:cubicBezTo>
                <a:cubicBezTo>
                  <a:pt x="88" y="89"/>
                  <a:pt x="88" y="89"/>
                  <a:pt x="88" y="89"/>
                </a:cubicBezTo>
                <a:cubicBezTo>
                  <a:pt x="89" y="89"/>
                  <a:pt x="90" y="90"/>
                  <a:pt x="91" y="90"/>
                </a:cubicBezTo>
                <a:cubicBezTo>
                  <a:pt x="92" y="91"/>
                  <a:pt x="93" y="91"/>
                  <a:pt x="94" y="92"/>
                </a:cubicBezTo>
                <a:cubicBezTo>
                  <a:pt x="95" y="93"/>
                  <a:pt x="96" y="94"/>
                  <a:pt x="97" y="95"/>
                </a:cubicBezTo>
                <a:cubicBezTo>
                  <a:pt x="97" y="96"/>
                  <a:pt x="97" y="97"/>
                  <a:pt x="97" y="99"/>
                </a:cubicBezTo>
                <a:cubicBezTo>
                  <a:pt x="97" y="103"/>
                  <a:pt x="97" y="105"/>
                  <a:pt x="95" y="107"/>
                </a:cubicBezTo>
                <a:moveTo>
                  <a:pt x="83" y="77"/>
                </a:moveTo>
                <a:cubicBezTo>
                  <a:pt x="81" y="77"/>
                  <a:pt x="81" y="77"/>
                  <a:pt x="80" y="76"/>
                </a:cubicBezTo>
                <a:cubicBezTo>
                  <a:pt x="79" y="76"/>
                  <a:pt x="78" y="75"/>
                  <a:pt x="77" y="74"/>
                </a:cubicBezTo>
                <a:cubicBezTo>
                  <a:pt x="76" y="74"/>
                  <a:pt x="75" y="73"/>
                  <a:pt x="75" y="72"/>
                </a:cubicBezTo>
                <a:cubicBezTo>
                  <a:pt x="74" y="71"/>
                  <a:pt x="74" y="70"/>
                  <a:pt x="74" y="68"/>
                </a:cubicBezTo>
                <a:cubicBezTo>
                  <a:pt x="74" y="65"/>
                  <a:pt x="75" y="63"/>
                  <a:pt x="76" y="62"/>
                </a:cubicBezTo>
                <a:cubicBezTo>
                  <a:pt x="78" y="60"/>
                  <a:pt x="80" y="60"/>
                  <a:pt x="83" y="60"/>
                </a:cubicBezTo>
                <a:cubicBezTo>
                  <a:pt x="83" y="77"/>
                  <a:pt x="83" y="77"/>
                  <a:pt x="83" y="77"/>
                </a:cubicBezTo>
                <a:close/>
                <a:moveTo>
                  <a:pt x="101" y="84"/>
                </a:moveTo>
                <a:cubicBezTo>
                  <a:pt x="99" y="83"/>
                  <a:pt x="97" y="82"/>
                  <a:pt x="95" y="81"/>
                </a:cubicBezTo>
                <a:cubicBezTo>
                  <a:pt x="92" y="80"/>
                  <a:pt x="90" y="79"/>
                  <a:pt x="88" y="78"/>
                </a:cubicBezTo>
                <a:cubicBezTo>
                  <a:pt x="88" y="60"/>
                  <a:pt x="88" y="60"/>
                  <a:pt x="88" y="60"/>
                </a:cubicBezTo>
                <a:cubicBezTo>
                  <a:pt x="91" y="60"/>
                  <a:pt x="92" y="60"/>
                  <a:pt x="94" y="62"/>
                </a:cubicBezTo>
                <a:cubicBezTo>
                  <a:pt x="95" y="64"/>
                  <a:pt x="96" y="66"/>
                  <a:pt x="96" y="69"/>
                </a:cubicBezTo>
                <a:cubicBezTo>
                  <a:pt x="106" y="69"/>
                  <a:pt x="106" y="69"/>
                  <a:pt x="106" y="69"/>
                </a:cubicBezTo>
                <a:cubicBezTo>
                  <a:pt x="106" y="66"/>
                  <a:pt x="105" y="64"/>
                  <a:pt x="104" y="61"/>
                </a:cubicBezTo>
                <a:cubicBezTo>
                  <a:pt x="103" y="59"/>
                  <a:pt x="102" y="57"/>
                  <a:pt x="100" y="56"/>
                </a:cubicBezTo>
                <a:cubicBezTo>
                  <a:pt x="98" y="55"/>
                  <a:pt x="97" y="54"/>
                  <a:pt x="94" y="53"/>
                </a:cubicBezTo>
                <a:cubicBezTo>
                  <a:pt x="92" y="52"/>
                  <a:pt x="90" y="52"/>
                  <a:pt x="88" y="52"/>
                </a:cubicBezTo>
                <a:cubicBezTo>
                  <a:pt x="88" y="46"/>
                  <a:pt x="88" y="46"/>
                  <a:pt x="88" y="46"/>
                </a:cubicBezTo>
                <a:cubicBezTo>
                  <a:pt x="83" y="46"/>
                  <a:pt x="83" y="46"/>
                  <a:pt x="83" y="46"/>
                </a:cubicBezTo>
                <a:cubicBezTo>
                  <a:pt x="83" y="52"/>
                  <a:pt x="83" y="52"/>
                  <a:pt x="83" y="52"/>
                </a:cubicBezTo>
                <a:cubicBezTo>
                  <a:pt x="80" y="52"/>
                  <a:pt x="78" y="52"/>
                  <a:pt x="76" y="53"/>
                </a:cubicBezTo>
                <a:cubicBezTo>
                  <a:pt x="74" y="54"/>
                  <a:pt x="72" y="55"/>
                  <a:pt x="70" y="56"/>
                </a:cubicBezTo>
                <a:cubicBezTo>
                  <a:pt x="68" y="58"/>
                  <a:pt x="67" y="59"/>
                  <a:pt x="66" y="62"/>
                </a:cubicBezTo>
                <a:cubicBezTo>
                  <a:pt x="65" y="64"/>
                  <a:pt x="64" y="66"/>
                  <a:pt x="64" y="69"/>
                </a:cubicBezTo>
                <a:cubicBezTo>
                  <a:pt x="64" y="72"/>
                  <a:pt x="65" y="75"/>
                  <a:pt x="66" y="77"/>
                </a:cubicBezTo>
                <a:cubicBezTo>
                  <a:pt x="67" y="79"/>
                  <a:pt x="68" y="81"/>
                  <a:pt x="70" y="82"/>
                </a:cubicBezTo>
                <a:cubicBezTo>
                  <a:pt x="72" y="84"/>
                  <a:pt x="74" y="85"/>
                  <a:pt x="76" y="86"/>
                </a:cubicBezTo>
                <a:cubicBezTo>
                  <a:pt x="79" y="87"/>
                  <a:pt x="80" y="88"/>
                  <a:pt x="83" y="88"/>
                </a:cubicBezTo>
                <a:cubicBezTo>
                  <a:pt x="83" y="109"/>
                  <a:pt x="83" y="109"/>
                  <a:pt x="83" y="109"/>
                </a:cubicBezTo>
                <a:cubicBezTo>
                  <a:pt x="79" y="109"/>
                  <a:pt x="77" y="108"/>
                  <a:pt x="75" y="106"/>
                </a:cubicBezTo>
                <a:cubicBezTo>
                  <a:pt x="73" y="104"/>
                  <a:pt x="72" y="101"/>
                  <a:pt x="72" y="97"/>
                </a:cubicBezTo>
                <a:cubicBezTo>
                  <a:pt x="63" y="97"/>
                  <a:pt x="63" y="97"/>
                  <a:pt x="63" y="97"/>
                </a:cubicBezTo>
                <a:cubicBezTo>
                  <a:pt x="63" y="100"/>
                  <a:pt x="63" y="103"/>
                  <a:pt x="64" y="105"/>
                </a:cubicBezTo>
                <a:cubicBezTo>
                  <a:pt x="65" y="108"/>
                  <a:pt x="67" y="110"/>
                  <a:pt x="68" y="112"/>
                </a:cubicBezTo>
                <a:cubicBezTo>
                  <a:pt x="70" y="114"/>
                  <a:pt x="72" y="115"/>
                  <a:pt x="75" y="116"/>
                </a:cubicBezTo>
                <a:cubicBezTo>
                  <a:pt x="77" y="117"/>
                  <a:pt x="80" y="117"/>
                  <a:pt x="83" y="117"/>
                </a:cubicBezTo>
                <a:cubicBezTo>
                  <a:pt x="83" y="123"/>
                  <a:pt x="83" y="123"/>
                  <a:pt x="83" y="123"/>
                </a:cubicBezTo>
                <a:cubicBezTo>
                  <a:pt x="88" y="123"/>
                  <a:pt x="88" y="123"/>
                  <a:pt x="88" y="123"/>
                </a:cubicBezTo>
                <a:cubicBezTo>
                  <a:pt x="88" y="117"/>
                  <a:pt x="88" y="117"/>
                  <a:pt x="88" y="117"/>
                </a:cubicBezTo>
                <a:cubicBezTo>
                  <a:pt x="91" y="117"/>
                  <a:pt x="92" y="117"/>
                  <a:pt x="95" y="116"/>
                </a:cubicBezTo>
                <a:cubicBezTo>
                  <a:pt x="97" y="115"/>
                  <a:pt x="99" y="114"/>
                  <a:pt x="101" y="112"/>
                </a:cubicBezTo>
                <a:cubicBezTo>
                  <a:pt x="103" y="111"/>
                  <a:pt x="105" y="109"/>
                  <a:pt x="106" y="106"/>
                </a:cubicBezTo>
                <a:cubicBezTo>
                  <a:pt x="107" y="104"/>
                  <a:pt x="107" y="101"/>
                  <a:pt x="107" y="98"/>
                </a:cubicBezTo>
                <a:cubicBezTo>
                  <a:pt x="107" y="94"/>
                  <a:pt x="107" y="92"/>
                  <a:pt x="105" y="90"/>
                </a:cubicBezTo>
                <a:cubicBezTo>
                  <a:pt x="104" y="87"/>
                  <a:pt x="103" y="86"/>
                  <a:pt x="101" y="84"/>
                </a:cubicBezTo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08" name="TextBox 107">
            <a:extLst>
              <a:ext uri="{FF2B5EF4-FFF2-40B4-BE49-F238E27FC236}">
                <a16:creationId xmlns:a16="http://schemas.microsoft.com/office/drawing/2014/main" id="{6258C299-6E6D-4EDB-A162-AE1930DD6044}"/>
              </a:ext>
            </a:extLst>
          </p:cNvPr>
          <p:cNvSpPr txBox="1"/>
          <p:nvPr/>
        </p:nvSpPr>
        <p:spPr>
          <a:xfrm>
            <a:off x="5067935" y="2644179"/>
            <a:ext cx="192105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>
                <a:solidFill>
                  <a:sysClr val="windowText" lastClr="000000"/>
                </a:solidFill>
              </a:rPr>
              <a:t>         You will be offered a 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kindergarten place by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text or email. You must respond to an offer within </a:t>
            </a:r>
            <a:r>
              <a:rPr lang="en-AU" sz="1100">
                <a:solidFill>
                  <a:sysClr val="windowText" lastClr="000000"/>
                </a:solidFill>
                <a:highlight>
                  <a:srgbClr val="FFFF00"/>
                </a:highlight>
              </a:rPr>
              <a:t>XX</a:t>
            </a:r>
            <a:r>
              <a:rPr lang="en-AU" sz="1100">
                <a:solidFill>
                  <a:sysClr val="windowText" lastClr="000000"/>
                </a:solidFill>
              </a:rPr>
              <a:t> weeks of getting it. If the offer is not right for you, you can say no and be put on the waitlist. </a:t>
            </a: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r>
              <a:rPr lang="en-AU" sz="1100">
                <a:solidFill>
                  <a:sysClr val="windowText" lastClr="000000"/>
                </a:solidFill>
              </a:rPr>
              <a:t>            First round offers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   come in August, and second round offers come in September. After September, offers will be made weekly or whenever new places are available.</a:t>
            </a:r>
          </a:p>
        </p:txBody>
      </p:sp>
      <p:sp>
        <p:nvSpPr>
          <p:cNvPr id="112" name="Freeform 17">
            <a:extLst>
              <a:ext uri="{FF2B5EF4-FFF2-40B4-BE49-F238E27FC236}">
                <a16:creationId xmlns:a16="http://schemas.microsoft.com/office/drawing/2014/main" id="{298E1B8B-5E9B-4DE2-AB42-372B60F4BBB7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5179398" y="2662280"/>
            <a:ext cx="210180" cy="365270"/>
          </a:xfrm>
          <a:custGeom>
            <a:avLst/>
            <a:gdLst/>
            <a:ahLst/>
            <a:cxnLst>
              <a:cxn ang="0">
                <a:pos x="48" y="11"/>
              </a:cxn>
              <a:cxn ang="0">
                <a:pos x="41" y="11"/>
              </a:cxn>
              <a:cxn ang="0">
                <a:pos x="37" y="15"/>
              </a:cxn>
              <a:cxn ang="0">
                <a:pos x="41" y="18"/>
              </a:cxn>
              <a:cxn ang="0">
                <a:pos x="48" y="18"/>
              </a:cxn>
              <a:cxn ang="0">
                <a:pos x="52" y="15"/>
              </a:cxn>
              <a:cxn ang="0">
                <a:pos x="48" y="11"/>
              </a:cxn>
              <a:cxn ang="0">
                <a:pos x="82" y="22"/>
              </a:cxn>
              <a:cxn ang="0">
                <a:pos x="7" y="22"/>
              </a:cxn>
              <a:cxn ang="0">
                <a:pos x="7" y="15"/>
              </a:cxn>
              <a:cxn ang="0">
                <a:pos x="15" y="7"/>
              </a:cxn>
              <a:cxn ang="0">
                <a:pos x="74" y="7"/>
              </a:cxn>
              <a:cxn ang="0">
                <a:pos x="82" y="15"/>
              </a:cxn>
              <a:cxn ang="0">
                <a:pos x="82" y="22"/>
              </a:cxn>
              <a:cxn ang="0">
                <a:pos x="82" y="132"/>
              </a:cxn>
              <a:cxn ang="0">
                <a:pos x="7" y="132"/>
              </a:cxn>
              <a:cxn ang="0">
                <a:pos x="7" y="29"/>
              </a:cxn>
              <a:cxn ang="0">
                <a:pos x="82" y="29"/>
              </a:cxn>
              <a:cxn ang="0">
                <a:pos x="82" y="132"/>
              </a:cxn>
              <a:cxn ang="0">
                <a:pos x="82" y="147"/>
              </a:cxn>
              <a:cxn ang="0">
                <a:pos x="74" y="154"/>
              </a:cxn>
              <a:cxn ang="0">
                <a:pos x="15" y="154"/>
              </a:cxn>
              <a:cxn ang="0">
                <a:pos x="7" y="147"/>
              </a:cxn>
              <a:cxn ang="0">
                <a:pos x="7" y="139"/>
              </a:cxn>
              <a:cxn ang="0">
                <a:pos x="82" y="139"/>
              </a:cxn>
              <a:cxn ang="0">
                <a:pos x="82" y="147"/>
              </a:cxn>
              <a:cxn ang="0">
                <a:pos x="74" y="0"/>
              </a:cxn>
              <a:cxn ang="0">
                <a:pos x="15" y="0"/>
              </a:cxn>
              <a:cxn ang="0">
                <a:pos x="0" y="15"/>
              </a:cxn>
              <a:cxn ang="0">
                <a:pos x="0" y="147"/>
              </a:cxn>
              <a:cxn ang="0">
                <a:pos x="15" y="161"/>
              </a:cxn>
              <a:cxn ang="0">
                <a:pos x="74" y="161"/>
              </a:cxn>
              <a:cxn ang="0">
                <a:pos x="89" y="147"/>
              </a:cxn>
              <a:cxn ang="0">
                <a:pos x="89" y="15"/>
              </a:cxn>
              <a:cxn ang="0">
                <a:pos x="74" y="0"/>
              </a:cxn>
              <a:cxn ang="0">
                <a:pos x="45" y="150"/>
              </a:cxn>
              <a:cxn ang="0">
                <a:pos x="48" y="147"/>
              </a:cxn>
              <a:cxn ang="0">
                <a:pos x="45" y="143"/>
              </a:cxn>
              <a:cxn ang="0">
                <a:pos x="41" y="147"/>
              </a:cxn>
              <a:cxn ang="0">
                <a:pos x="45" y="150"/>
              </a:cxn>
            </a:cxnLst>
            <a:rect l="0" t="0" r="r" b="b"/>
            <a:pathLst>
              <a:path w="89" h="161">
                <a:moveTo>
                  <a:pt x="48" y="11"/>
                </a:moveTo>
                <a:cubicBezTo>
                  <a:pt x="41" y="11"/>
                  <a:pt x="41" y="11"/>
                  <a:pt x="41" y="11"/>
                </a:cubicBezTo>
                <a:cubicBezTo>
                  <a:pt x="39" y="11"/>
                  <a:pt x="37" y="13"/>
                  <a:pt x="37" y="15"/>
                </a:cubicBezTo>
                <a:cubicBezTo>
                  <a:pt x="37" y="17"/>
                  <a:pt x="39" y="18"/>
                  <a:pt x="41" y="18"/>
                </a:cubicBezTo>
                <a:cubicBezTo>
                  <a:pt x="48" y="18"/>
                  <a:pt x="48" y="18"/>
                  <a:pt x="48" y="18"/>
                </a:cubicBezTo>
                <a:cubicBezTo>
                  <a:pt x="50" y="18"/>
                  <a:pt x="52" y="17"/>
                  <a:pt x="52" y="15"/>
                </a:cubicBezTo>
                <a:cubicBezTo>
                  <a:pt x="52" y="13"/>
                  <a:pt x="50" y="11"/>
                  <a:pt x="48" y="11"/>
                </a:cubicBezTo>
                <a:moveTo>
                  <a:pt x="82" y="22"/>
                </a:moveTo>
                <a:cubicBezTo>
                  <a:pt x="7" y="22"/>
                  <a:pt x="7" y="22"/>
                  <a:pt x="7" y="22"/>
                </a:cubicBezTo>
                <a:cubicBezTo>
                  <a:pt x="7" y="15"/>
                  <a:pt x="7" y="15"/>
                  <a:pt x="7" y="15"/>
                </a:cubicBezTo>
                <a:cubicBezTo>
                  <a:pt x="7" y="11"/>
                  <a:pt x="11" y="7"/>
                  <a:pt x="15" y="7"/>
                </a:cubicBezTo>
                <a:cubicBezTo>
                  <a:pt x="74" y="7"/>
                  <a:pt x="74" y="7"/>
                  <a:pt x="74" y="7"/>
                </a:cubicBezTo>
                <a:cubicBezTo>
                  <a:pt x="78" y="7"/>
                  <a:pt x="82" y="11"/>
                  <a:pt x="82" y="15"/>
                </a:cubicBezTo>
                <a:cubicBezTo>
                  <a:pt x="82" y="22"/>
                  <a:pt x="82" y="22"/>
                  <a:pt x="82" y="22"/>
                </a:cubicBezTo>
                <a:close/>
                <a:moveTo>
                  <a:pt x="82" y="132"/>
                </a:moveTo>
                <a:cubicBezTo>
                  <a:pt x="7" y="132"/>
                  <a:pt x="7" y="132"/>
                  <a:pt x="7" y="132"/>
                </a:cubicBezTo>
                <a:cubicBezTo>
                  <a:pt x="7" y="29"/>
                  <a:pt x="7" y="29"/>
                  <a:pt x="7" y="29"/>
                </a:cubicBezTo>
                <a:cubicBezTo>
                  <a:pt x="82" y="29"/>
                  <a:pt x="82" y="29"/>
                  <a:pt x="82" y="29"/>
                </a:cubicBezTo>
                <a:cubicBezTo>
                  <a:pt x="82" y="132"/>
                  <a:pt x="82" y="132"/>
                  <a:pt x="82" y="132"/>
                </a:cubicBezTo>
                <a:close/>
                <a:moveTo>
                  <a:pt x="82" y="147"/>
                </a:moveTo>
                <a:cubicBezTo>
                  <a:pt x="82" y="151"/>
                  <a:pt x="78" y="154"/>
                  <a:pt x="74" y="154"/>
                </a:cubicBezTo>
                <a:cubicBezTo>
                  <a:pt x="15" y="154"/>
                  <a:pt x="15" y="154"/>
                  <a:pt x="15" y="154"/>
                </a:cubicBezTo>
                <a:cubicBezTo>
                  <a:pt x="11" y="154"/>
                  <a:pt x="7" y="151"/>
                  <a:pt x="7" y="147"/>
                </a:cubicBezTo>
                <a:cubicBezTo>
                  <a:pt x="7" y="139"/>
                  <a:pt x="7" y="139"/>
                  <a:pt x="7" y="139"/>
                </a:cubicBezTo>
                <a:cubicBezTo>
                  <a:pt x="82" y="139"/>
                  <a:pt x="82" y="139"/>
                  <a:pt x="82" y="139"/>
                </a:cubicBezTo>
                <a:cubicBezTo>
                  <a:pt x="82" y="147"/>
                  <a:pt x="82" y="147"/>
                  <a:pt x="82" y="147"/>
                </a:cubicBezTo>
                <a:close/>
                <a:moveTo>
                  <a:pt x="74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7"/>
                  <a:pt x="0" y="15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55"/>
                  <a:pt x="7" y="161"/>
                  <a:pt x="15" y="161"/>
                </a:cubicBezTo>
                <a:cubicBezTo>
                  <a:pt x="74" y="161"/>
                  <a:pt x="74" y="161"/>
                  <a:pt x="74" y="161"/>
                </a:cubicBezTo>
                <a:cubicBezTo>
                  <a:pt x="82" y="161"/>
                  <a:pt x="89" y="155"/>
                  <a:pt x="89" y="147"/>
                </a:cubicBezTo>
                <a:cubicBezTo>
                  <a:pt x="89" y="15"/>
                  <a:pt x="89" y="15"/>
                  <a:pt x="89" y="15"/>
                </a:cubicBezTo>
                <a:cubicBezTo>
                  <a:pt x="89" y="7"/>
                  <a:pt x="82" y="0"/>
                  <a:pt x="74" y="0"/>
                </a:cubicBezTo>
                <a:moveTo>
                  <a:pt x="45" y="150"/>
                </a:moveTo>
                <a:cubicBezTo>
                  <a:pt x="47" y="150"/>
                  <a:pt x="48" y="149"/>
                  <a:pt x="48" y="147"/>
                </a:cubicBezTo>
                <a:cubicBezTo>
                  <a:pt x="48" y="145"/>
                  <a:pt x="47" y="143"/>
                  <a:pt x="45" y="143"/>
                </a:cubicBezTo>
                <a:cubicBezTo>
                  <a:pt x="42" y="143"/>
                  <a:pt x="41" y="145"/>
                  <a:pt x="41" y="147"/>
                </a:cubicBezTo>
                <a:cubicBezTo>
                  <a:pt x="41" y="149"/>
                  <a:pt x="42" y="150"/>
                  <a:pt x="45" y="150"/>
                </a:cubicBezTo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AU">
              <a:solidFill>
                <a:sysClr val="windowText" lastClr="000000"/>
              </a:solidFill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10F77CBC-36A3-4BAD-B4B2-1E546D523F6C}"/>
              </a:ext>
            </a:extLst>
          </p:cNvPr>
          <p:cNvSpPr txBox="1"/>
          <p:nvPr/>
        </p:nvSpPr>
        <p:spPr>
          <a:xfrm>
            <a:off x="7544442" y="2629665"/>
            <a:ext cx="1858745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100">
                <a:solidFill>
                  <a:sysClr val="windowText" lastClr="000000"/>
                </a:solidFill>
              </a:rPr>
              <a:t>              Your kindergarten             </a:t>
            </a:r>
          </a:p>
          <a:p>
            <a:r>
              <a:rPr lang="en-AU" sz="1100">
                <a:solidFill>
                  <a:sysClr val="windowText" lastClr="000000"/>
                </a:solidFill>
              </a:rPr>
              <a:t>               team will contact you to help you enrol and prepare for kinder.</a:t>
            </a: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endParaRPr lang="en-AU" sz="1100">
              <a:solidFill>
                <a:sysClr val="windowText" lastClr="000000"/>
              </a:solidFill>
            </a:endParaRPr>
          </a:p>
          <a:p>
            <a:r>
              <a:rPr lang="en-AU" sz="1100">
                <a:solidFill>
                  <a:sysClr val="windowText" lastClr="000000"/>
                </a:solidFill>
              </a:rPr>
              <a:t>           You will need to give the kinder copies of documents, including your child’s birth certificate and immunisation record. A member of the kinder team, an MCH nurse or support service team member can help you with these.</a:t>
            </a: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06763FC6-FEBB-4FEB-9CAD-6D84A6B45D4B}"/>
              </a:ext>
            </a:extLst>
          </p:cNvPr>
          <p:cNvGrpSpPr>
            <a:grpSpLocks noChangeAspect="1"/>
          </p:cNvGrpSpPr>
          <p:nvPr/>
        </p:nvGrpSpPr>
        <p:grpSpPr>
          <a:xfrm>
            <a:off x="7659108" y="3453773"/>
            <a:ext cx="341091" cy="360000"/>
            <a:chOff x="3151063" y="1100138"/>
            <a:chExt cx="436564" cy="539750"/>
          </a:xfrm>
          <a:solidFill>
            <a:schemeClr val="tx2"/>
          </a:solidFill>
        </p:grpSpPr>
        <p:sp>
          <p:nvSpPr>
            <p:cNvPr id="115" name="Freeform 25">
              <a:extLst>
                <a:ext uri="{FF2B5EF4-FFF2-40B4-BE49-F238E27FC236}">
                  <a16:creationId xmlns:a16="http://schemas.microsoft.com/office/drawing/2014/main" id="{658F415B-ADBE-441E-9BDB-6AB8F0BC1B1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151063" y="1100138"/>
              <a:ext cx="436564" cy="539750"/>
            </a:xfrm>
            <a:custGeom>
              <a:avLst/>
              <a:gdLst>
                <a:gd name="T0" fmla="*/ 99 w 137"/>
                <a:gd name="T1" fmla="*/ 0 h 169"/>
                <a:gd name="T2" fmla="*/ 14 w 137"/>
                <a:gd name="T3" fmla="*/ 0 h 169"/>
                <a:gd name="T4" fmla="*/ 0 w 137"/>
                <a:gd name="T5" fmla="*/ 14 h 169"/>
                <a:gd name="T6" fmla="*/ 0 w 137"/>
                <a:gd name="T7" fmla="*/ 155 h 169"/>
                <a:gd name="T8" fmla="*/ 14 w 137"/>
                <a:gd name="T9" fmla="*/ 169 h 169"/>
                <a:gd name="T10" fmla="*/ 123 w 137"/>
                <a:gd name="T11" fmla="*/ 169 h 169"/>
                <a:gd name="T12" fmla="*/ 137 w 137"/>
                <a:gd name="T13" fmla="*/ 155 h 169"/>
                <a:gd name="T14" fmla="*/ 137 w 137"/>
                <a:gd name="T15" fmla="*/ 42 h 169"/>
                <a:gd name="T16" fmla="*/ 99 w 137"/>
                <a:gd name="T17" fmla="*/ 0 h 169"/>
                <a:gd name="T18" fmla="*/ 99 w 137"/>
                <a:gd name="T19" fmla="*/ 0 h 169"/>
                <a:gd name="T20" fmla="*/ 131 w 137"/>
                <a:gd name="T21" fmla="*/ 155 h 169"/>
                <a:gd name="T22" fmla="*/ 123 w 137"/>
                <a:gd name="T23" fmla="*/ 163 h 169"/>
                <a:gd name="T24" fmla="*/ 14 w 137"/>
                <a:gd name="T25" fmla="*/ 163 h 169"/>
                <a:gd name="T26" fmla="*/ 6 w 137"/>
                <a:gd name="T27" fmla="*/ 155 h 169"/>
                <a:gd name="T28" fmla="*/ 6 w 137"/>
                <a:gd name="T29" fmla="*/ 14 h 169"/>
                <a:gd name="T30" fmla="*/ 14 w 137"/>
                <a:gd name="T31" fmla="*/ 6 h 169"/>
                <a:gd name="T32" fmla="*/ 85 w 137"/>
                <a:gd name="T33" fmla="*/ 6 h 169"/>
                <a:gd name="T34" fmla="*/ 85 w 137"/>
                <a:gd name="T35" fmla="*/ 45 h 169"/>
                <a:gd name="T36" fmla="*/ 92 w 137"/>
                <a:gd name="T37" fmla="*/ 52 h 169"/>
                <a:gd name="T38" fmla="*/ 131 w 137"/>
                <a:gd name="T39" fmla="*/ 52 h 169"/>
                <a:gd name="T40" fmla="*/ 131 w 137"/>
                <a:gd name="T41" fmla="*/ 155 h 169"/>
                <a:gd name="T42" fmla="*/ 131 w 137"/>
                <a:gd name="T43" fmla="*/ 155 h 169"/>
                <a:gd name="T44" fmla="*/ 91 w 137"/>
                <a:gd name="T45" fmla="*/ 46 h 169"/>
                <a:gd name="T46" fmla="*/ 91 w 137"/>
                <a:gd name="T47" fmla="*/ 6 h 169"/>
                <a:gd name="T48" fmla="*/ 96 w 137"/>
                <a:gd name="T49" fmla="*/ 6 h 169"/>
                <a:gd name="T50" fmla="*/ 132 w 137"/>
                <a:gd name="T51" fmla="*/ 46 h 169"/>
                <a:gd name="T52" fmla="*/ 91 w 137"/>
                <a:gd name="T53" fmla="*/ 46 h 169"/>
                <a:gd name="T54" fmla="*/ 91 w 137"/>
                <a:gd name="T55" fmla="*/ 46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37" h="169">
                  <a:moveTo>
                    <a:pt x="99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6" y="0"/>
                    <a:pt x="0" y="6"/>
                    <a:pt x="0" y="14"/>
                  </a:cubicBezTo>
                  <a:cubicBezTo>
                    <a:pt x="0" y="155"/>
                    <a:pt x="0" y="155"/>
                    <a:pt x="0" y="155"/>
                  </a:cubicBezTo>
                  <a:cubicBezTo>
                    <a:pt x="0" y="163"/>
                    <a:pt x="6" y="169"/>
                    <a:pt x="14" y="169"/>
                  </a:cubicBezTo>
                  <a:cubicBezTo>
                    <a:pt x="123" y="169"/>
                    <a:pt x="123" y="169"/>
                    <a:pt x="123" y="169"/>
                  </a:cubicBezTo>
                  <a:cubicBezTo>
                    <a:pt x="131" y="169"/>
                    <a:pt x="137" y="163"/>
                    <a:pt x="137" y="155"/>
                  </a:cubicBezTo>
                  <a:cubicBezTo>
                    <a:pt x="137" y="42"/>
                    <a:pt x="137" y="42"/>
                    <a:pt x="137" y="42"/>
                  </a:cubicBezTo>
                  <a:cubicBezTo>
                    <a:pt x="99" y="0"/>
                    <a:pt x="99" y="0"/>
                    <a:pt x="99" y="0"/>
                  </a:cubicBezTo>
                  <a:cubicBezTo>
                    <a:pt x="99" y="0"/>
                    <a:pt x="99" y="0"/>
                    <a:pt x="99" y="0"/>
                  </a:cubicBezTo>
                  <a:close/>
                  <a:moveTo>
                    <a:pt x="131" y="155"/>
                  </a:moveTo>
                  <a:cubicBezTo>
                    <a:pt x="131" y="159"/>
                    <a:pt x="127" y="163"/>
                    <a:pt x="123" y="163"/>
                  </a:cubicBezTo>
                  <a:cubicBezTo>
                    <a:pt x="14" y="163"/>
                    <a:pt x="14" y="163"/>
                    <a:pt x="14" y="163"/>
                  </a:cubicBezTo>
                  <a:cubicBezTo>
                    <a:pt x="10" y="163"/>
                    <a:pt x="6" y="159"/>
                    <a:pt x="6" y="155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0"/>
                    <a:pt x="10" y="6"/>
                    <a:pt x="14" y="6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45"/>
                    <a:pt x="85" y="45"/>
                    <a:pt x="85" y="45"/>
                  </a:cubicBezTo>
                  <a:cubicBezTo>
                    <a:pt x="85" y="49"/>
                    <a:pt x="88" y="52"/>
                    <a:pt x="92" y="52"/>
                  </a:cubicBezTo>
                  <a:cubicBezTo>
                    <a:pt x="131" y="52"/>
                    <a:pt x="131" y="52"/>
                    <a:pt x="131" y="52"/>
                  </a:cubicBezTo>
                  <a:cubicBezTo>
                    <a:pt x="131" y="155"/>
                    <a:pt x="131" y="155"/>
                    <a:pt x="131" y="155"/>
                  </a:cubicBezTo>
                  <a:cubicBezTo>
                    <a:pt x="131" y="155"/>
                    <a:pt x="131" y="155"/>
                    <a:pt x="131" y="155"/>
                  </a:cubicBezTo>
                  <a:close/>
                  <a:moveTo>
                    <a:pt x="91" y="46"/>
                  </a:moveTo>
                  <a:cubicBezTo>
                    <a:pt x="91" y="6"/>
                    <a:pt x="91" y="6"/>
                    <a:pt x="91" y="6"/>
                  </a:cubicBezTo>
                  <a:cubicBezTo>
                    <a:pt x="96" y="6"/>
                    <a:pt x="96" y="6"/>
                    <a:pt x="96" y="6"/>
                  </a:cubicBezTo>
                  <a:cubicBezTo>
                    <a:pt x="132" y="46"/>
                    <a:pt x="132" y="46"/>
                    <a:pt x="132" y="46"/>
                  </a:cubicBezTo>
                  <a:cubicBezTo>
                    <a:pt x="91" y="46"/>
                    <a:pt x="91" y="46"/>
                    <a:pt x="91" y="46"/>
                  </a:cubicBezTo>
                  <a:cubicBezTo>
                    <a:pt x="91" y="46"/>
                    <a:pt x="91" y="46"/>
                    <a:pt x="91" y="4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6" name="Freeform 26">
              <a:extLst>
                <a:ext uri="{FF2B5EF4-FFF2-40B4-BE49-F238E27FC236}">
                  <a16:creationId xmlns:a16="http://schemas.microsoft.com/office/drawing/2014/main" id="{F4F71807-F6D6-4E67-9AD8-A1DA5840A4C9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311276"/>
              <a:ext cx="242888" cy="19050"/>
            </a:xfrm>
            <a:custGeom>
              <a:avLst/>
              <a:gdLst>
                <a:gd name="T0" fmla="*/ 0 w 76"/>
                <a:gd name="T1" fmla="*/ 3 h 6"/>
                <a:gd name="T2" fmla="*/ 3 w 76"/>
                <a:gd name="T3" fmla="*/ 6 h 6"/>
                <a:gd name="T4" fmla="*/ 73 w 76"/>
                <a:gd name="T5" fmla="*/ 6 h 6"/>
                <a:gd name="T6" fmla="*/ 76 w 76"/>
                <a:gd name="T7" fmla="*/ 3 h 6"/>
                <a:gd name="T8" fmla="*/ 73 w 76"/>
                <a:gd name="T9" fmla="*/ 0 h 6"/>
                <a:gd name="T10" fmla="*/ 3 w 76"/>
                <a:gd name="T11" fmla="*/ 0 h 6"/>
                <a:gd name="T12" fmla="*/ 0 w 76"/>
                <a:gd name="T13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6">
                  <a:moveTo>
                    <a:pt x="0" y="3"/>
                  </a:moveTo>
                  <a:cubicBezTo>
                    <a:pt x="0" y="4"/>
                    <a:pt x="1" y="6"/>
                    <a:pt x="3" y="6"/>
                  </a:cubicBezTo>
                  <a:cubicBezTo>
                    <a:pt x="73" y="6"/>
                    <a:pt x="73" y="6"/>
                    <a:pt x="73" y="6"/>
                  </a:cubicBezTo>
                  <a:cubicBezTo>
                    <a:pt x="75" y="6"/>
                    <a:pt x="76" y="4"/>
                    <a:pt x="76" y="3"/>
                  </a:cubicBezTo>
                  <a:cubicBezTo>
                    <a:pt x="76" y="1"/>
                    <a:pt x="75" y="0"/>
                    <a:pt x="7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7" name="Freeform 27">
              <a:extLst>
                <a:ext uri="{FF2B5EF4-FFF2-40B4-BE49-F238E27FC236}">
                  <a16:creationId xmlns:a16="http://schemas.microsoft.com/office/drawing/2014/main" id="{1434193B-DA5C-4FC2-9649-5768A6A40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406526"/>
              <a:ext cx="242888" cy="22226"/>
            </a:xfrm>
            <a:custGeom>
              <a:avLst/>
              <a:gdLst>
                <a:gd name="T0" fmla="*/ 73 w 76"/>
                <a:gd name="T1" fmla="*/ 0 h 7"/>
                <a:gd name="T2" fmla="*/ 3 w 76"/>
                <a:gd name="T3" fmla="*/ 0 h 7"/>
                <a:gd name="T4" fmla="*/ 0 w 76"/>
                <a:gd name="T5" fmla="*/ 4 h 7"/>
                <a:gd name="T6" fmla="*/ 3 w 76"/>
                <a:gd name="T7" fmla="*/ 7 h 7"/>
                <a:gd name="T8" fmla="*/ 73 w 76"/>
                <a:gd name="T9" fmla="*/ 7 h 7"/>
                <a:gd name="T10" fmla="*/ 76 w 76"/>
                <a:gd name="T11" fmla="*/ 4 h 7"/>
                <a:gd name="T12" fmla="*/ 73 w 76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7">
                  <a:moveTo>
                    <a:pt x="73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4"/>
                  </a:cubicBezTo>
                  <a:cubicBezTo>
                    <a:pt x="0" y="5"/>
                    <a:pt x="1" y="7"/>
                    <a:pt x="3" y="7"/>
                  </a:cubicBezTo>
                  <a:cubicBezTo>
                    <a:pt x="73" y="7"/>
                    <a:pt x="73" y="7"/>
                    <a:pt x="73" y="7"/>
                  </a:cubicBezTo>
                  <a:cubicBezTo>
                    <a:pt x="75" y="7"/>
                    <a:pt x="76" y="5"/>
                    <a:pt x="76" y="4"/>
                  </a:cubicBezTo>
                  <a:cubicBezTo>
                    <a:pt x="76" y="2"/>
                    <a:pt x="75" y="0"/>
                    <a:pt x="73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8C1D658C-2B7C-4891-AECC-BD5B4EC85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509712"/>
              <a:ext cx="169863" cy="19050"/>
            </a:xfrm>
            <a:custGeom>
              <a:avLst/>
              <a:gdLst>
                <a:gd name="T0" fmla="*/ 50 w 53"/>
                <a:gd name="T1" fmla="*/ 0 h 6"/>
                <a:gd name="T2" fmla="*/ 3 w 53"/>
                <a:gd name="T3" fmla="*/ 0 h 6"/>
                <a:gd name="T4" fmla="*/ 0 w 53"/>
                <a:gd name="T5" fmla="*/ 3 h 6"/>
                <a:gd name="T6" fmla="*/ 3 w 53"/>
                <a:gd name="T7" fmla="*/ 6 h 6"/>
                <a:gd name="T8" fmla="*/ 50 w 53"/>
                <a:gd name="T9" fmla="*/ 6 h 6"/>
                <a:gd name="T10" fmla="*/ 53 w 53"/>
                <a:gd name="T11" fmla="*/ 3 h 6"/>
                <a:gd name="T12" fmla="*/ 50 w 53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6">
                  <a:moveTo>
                    <a:pt x="50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2"/>
                    <a:pt x="0" y="3"/>
                  </a:cubicBezTo>
                  <a:cubicBezTo>
                    <a:pt x="0" y="5"/>
                    <a:pt x="1" y="6"/>
                    <a:pt x="3" y="6"/>
                  </a:cubicBezTo>
                  <a:cubicBezTo>
                    <a:pt x="50" y="6"/>
                    <a:pt x="50" y="6"/>
                    <a:pt x="50" y="6"/>
                  </a:cubicBezTo>
                  <a:cubicBezTo>
                    <a:pt x="52" y="6"/>
                    <a:pt x="53" y="5"/>
                    <a:pt x="53" y="3"/>
                  </a:cubicBezTo>
                  <a:cubicBezTo>
                    <a:pt x="53" y="2"/>
                    <a:pt x="52" y="0"/>
                    <a:pt x="50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2639E872-E3B8-47D7-9479-4BF68EC9E36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49502" y="1211264"/>
              <a:ext cx="80964" cy="19050"/>
            </a:xfrm>
            <a:custGeom>
              <a:avLst/>
              <a:gdLst>
                <a:gd name="T0" fmla="*/ 3 w 25"/>
                <a:gd name="T1" fmla="*/ 6 h 6"/>
                <a:gd name="T2" fmla="*/ 22 w 25"/>
                <a:gd name="T3" fmla="*/ 6 h 6"/>
                <a:gd name="T4" fmla="*/ 25 w 25"/>
                <a:gd name="T5" fmla="*/ 3 h 6"/>
                <a:gd name="T6" fmla="*/ 22 w 25"/>
                <a:gd name="T7" fmla="*/ 0 h 6"/>
                <a:gd name="T8" fmla="*/ 3 w 25"/>
                <a:gd name="T9" fmla="*/ 0 h 6"/>
                <a:gd name="T10" fmla="*/ 0 w 25"/>
                <a:gd name="T11" fmla="*/ 3 h 6"/>
                <a:gd name="T12" fmla="*/ 3 w 25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6">
                  <a:moveTo>
                    <a:pt x="3" y="6"/>
                  </a:moveTo>
                  <a:cubicBezTo>
                    <a:pt x="22" y="6"/>
                    <a:pt x="22" y="6"/>
                    <a:pt x="22" y="6"/>
                  </a:cubicBezTo>
                  <a:cubicBezTo>
                    <a:pt x="24" y="6"/>
                    <a:pt x="25" y="4"/>
                    <a:pt x="25" y="3"/>
                  </a:cubicBezTo>
                  <a:cubicBezTo>
                    <a:pt x="25" y="1"/>
                    <a:pt x="24" y="0"/>
                    <a:pt x="22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" y="0"/>
                    <a:pt x="0" y="1"/>
                    <a:pt x="0" y="3"/>
                  </a:cubicBezTo>
                  <a:cubicBezTo>
                    <a:pt x="0" y="4"/>
                    <a:pt x="1" y="6"/>
                    <a:pt x="3" y="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0" name="Group 119">
            <a:extLst>
              <a:ext uri="{FF2B5EF4-FFF2-40B4-BE49-F238E27FC236}">
                <a16:creationId xmlns:a16="http://schemas.microsoft.com/office/drawing/2014/main" id="{9D412AB3-7AF6-424E-A5F9-7740C86F2594}"/>
              </a:ext>
            </a:extLst>
          </p:cNvPr>
          <p:cNvGrpSpPr>
            <a:grpSpLocks noChangeAspect="1"/>
          </p:cNvGrpSpPr>
          <p:nvPr/>
        </p:nvGrpSpPr>
        <p:grpSpPr>
          <a:xfrm>
            <a:off x="7575649" y="2662280"/>
            <a:ext cx="602786" cy="365270"/>
            <a:chOff x="2841626" y="2228851"/>
            <a:chExt cx="657225" cy="436563"/>
          </a:xfrm>
          <a:solidFill>
            <a:schemeClr val="tx2"/>
          </a:solidFill>
        </p:grpSpPr>
        <p:sp>
          <p:nvSpPr>
            <p:cNvPr id="121" name="Freeform 27">
              <a:extLst>
                <a:ext uri="{FF2B5EF4-FFF2-40B4-BE49-F238E27FC236}">
                  <a16:creationId xmlns:a16="http://schemas.microsoft.com/office/drawing/2014/main" id="{2C2BC8D1-D872-4FE3-8FBB-68817A457C8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41626" y="2228851"/>
              <a:ext cx="455613" cy="260350"/>
            </a:xfrm>
            <a:custGeom>
              <a:avLst/>
              <a:gdLst>
                <a:gd name="T0" fmla="*/ 57 w 143"/>
                <a:gd name="T1" fmla="*/ 17 h 81"/>
                <a:gd name="T2" fmla="*/ 73 w 143"/>
                <a:gd name="T3" fmla="*/ 16 h 81"/>
                <a:gd name="T4" fmla="*/ 76 w 143"/>
                <a:gd name="T5" fmla="*/ 15 h 81"/>
                <a:gd name="T6" fmla="*/ 87 w 143"/>
                <a:gd name="T7" fmla="*/ 14 h 81"/>
                <a:gd name="T8" fmla="*/ 137 w 143"/>
                <a:gd name="T9" fmla="*/ 31 h 81"/>
                <a:gd name="T10" fmla="*/ 133 w 143"/>
                <a:gd name="T11" fmla="*/ 38 h 81"/>
                <a:gd name="T12" fmla="*/ 123 w 143"/>
                <a:gd name="T13" fmla="*/ 38 h 81"/>
                <a:gd name="T14" fmla="*/ 101 w 143"/>
                <a:gd name="T15" fmla="*/ 31 h 81"/>
                <a:gd name="T16" fmla="*/ 98 w 143"/>
                <a:gd name="T17" fmla="*/ 31 h 81"/>
                <a:gd name="T18" fmla="*/ 97 w 143"/>
                <a:gd name="T19" fmla="*/ 33 h 81"/>
                <a:gd name="T20" fmla="*/ 83 w 143"/>
                <a:gd name="T21" fmla="*/ 50 h 81"/>
                <a:gd name="T22" fmla="*/ 60 w 143"/>
                <a:gd name="T23" fmla="*/ 51 h 81"/>
                <a:gd name="T24" fmla="*/ 58 w 143"/>
                <a:gd name="T25" fmla="*/ 51 h 81"/>
                <a:gd name="T26" fmla="*/ 56 w 143"/>
                <a:gd name="T27" fmla="*/ 53 h 81"/>
                <a:gd name="T28" fmla="*/ 56 w 143"/>
                <a:gd name="T29" fmla="*/ 55 h 81"/>
                <a:gd name="T30" fmla="*/ 58 w 143"/>
                <a:gd name="T31" fmla="*/ 56 h 81"/>
                <a:gd name="T32" fmla="*/ 86 w 143"/>
                <a:gd name="T33" fmla="*/ 56 h 81"/>
                <a:gd name="T34" fmla="*/ 102 w 143"/>
                <a:gd name="T35" fmla="*/ 38 h 81"/>
                <a:gd name="T36" fmla="*/ 121 w 143"/>
                <a:gd name="T37" fmla="*/ 44 h 81"/>
                <a:gd name="T38" fmla="*/ 136 w 143"/>
                <a:gd name="T39" fmla="*/ 43 h 81"/>
                <a:gd name="T40" fmla="*/ 143 w 143"/>
                <a:gd name="T41" fmla="*/ 29 h 81"/>
                <a:gd name="T42" fmla="*/ 141 w 143"/>
                <a:gd name="T43" fmla="*/ 26 h 81"/>
                <a:gd name="T44" fmla="*/ 89 w 143"/>
                <a:gd name="T45" fmla="*/ 8 h 81"/>
                <a:gd name="T46" fmla="*/ 73 w 143"/>
                <a:gd name="T47" fmla="*/ 9 h 81"/>
                <a:gd name="T48" fmla="*/ 70 w 143"/>
                <a:gd name="T49" fmla="*/ 10 h 81"/>
                <a:gd name="T50" fmla="*/ 59 w 143"/>
                <a:gd name="T51" fmla="*/ 11 h 81"/>
                <a:gd name="T52" fmla="*/ 55 w 143"/>
                <a:gd name="T53" fmla="*/ 9 h 81"/>
                <a:gd name="T54" fmla="*/ 54 w 143"/>
                <a:gd name="T55" fmla="*/ 9 h 81"/>
                <a:gd name="T56" fmla="*/ 27 w 143"/>
                <a:gd name="T57" fmla="*/ 0 h 81"/>
                <a:gd name="T58" fmla="*/ 25 w 143"/>
                <a:gd name="T59" fmla="*/ 0 h 81"/>
                <a:gd name="T60" fmla="*/ 23 w 143"/>
                <a:gd name="T61" fmla="*/ 2 h 81"/>
                <a:gd name="T62" fmla="*/ 1 w 143"/>
                <a:gd name="T63" fmla="*/ 68 h 81"/>
                <a:gd name="T64" fmla="*/ 1 w 143"/>
                <a:gd name="T65" fmla="*/ 70 h 81"/>
                <a:gd name="T66" fmla="*/ 2 w 143"/>
                <a:gd name="T67" fmla="*/ 71 h 81"/>
                <a:gd name="T68" fmla="*/ 29 w 143"/>
                <a:gd name="T69" fmla="*/ 81 h 81"/>
                <a:gd name="T70" fmla="*/ 30 w 143"/>
                <a:gd name="T71" fmla="*/ 81 h 81"/>
                <a:gd name="T72" fmla="*/ 32 w 143"/>
                <a:gd name="T73" fmla="*/ 81 h 81"/>
                <a:gd name="T74" fmla="*/ 33 w 143"/>
                <a:gd name="T75" fmla="*/ 79 h 81"/>
                <a:gd name="T76" fmla="*/ 55 w 143"/>
                <a:gd name="T77" fmla="*/ 16 h 81"/>
                <a:gd name="T78" fmla="*/ 57 w 143"/>
                <a:gd name="T79" fmla="*/ 17 h 81"/>
                <a:gd name="T80" fmla="*/ 49 w 143"/>
                <a:gd name="T81" fmla="*/ 14 h 81"/>
                <a:gd name="T82" fmla="*/ 29 w 143"/>
                <a:gd name="T83" fmla="*/ 74 h 81"/>
                <a:gd name="T84" fmla="*/ 7 w 143"/>
                <a:gd name="T85" fmla="*/ 67 h 81"/>
                <a:gd name="T86" fmla="*/ 28 w 143"/>
                <a:gd name="T87" fmla="*/ 7 h 81"/>
                <a:gd name="T88" fmla="*/ 49 w 143"/>
                <a:gd name="T89" fmla="*/ 14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3" h="81">
                  <a:moveTo>
                    <a:pt x="57" y="17"/>
                  </a:moveTo>
                  <a:cubicBezTo>
                    <a:pt x="62" y="19"/>
                    <a:pt x="68" y="18"/>
                    <a:pt x="73" y="16"/>
                  </a:cubicBezTo>
                  <a:cubicBezTo>
                    <a:pt x="76" y="15"/>
                    <a:pt x="76" y="15"/>
                    <a:pt x="76" y="15"/>
                  </a:cubicBezTo>
                  <a:cubicBezTo>
                    <a:pt x="79" y="13"/>
                    <a:pt x="83" y="13"/>
                    <a:pt x="87" y="14"/>
                  </a:cubicBezTo>
                  <a:cubicBezTo>
                    <a:pt x="137" y="31"/>
                    <a:pt x="137" y="31"/>
                    <a:pt x="137" y="31"/>
                  </a:cubicBezTo>
                  <a:cubicBezTo>
                    <a:pt x="136" y="33"/>
                    <a:pt x="135" y="36"/>
                    <a:pt x="133" y="38"/>
                  </a:cubicBezTo>
                  <a:cubicBezTo>
                    <a:pt x="131" y="40"/>
                    <a:pt x="127" y="40"/>
                    <a:pt x="123" y="38"/>
                  </a:cubicBezTo>
                  <a:cubicBezTo>
                    <a:pt x="101" y="31"/>
                    <a:pt x="101" y="31"/>
                    <a:pt x="101" y="31"/>
                  </a:cubicBezTo>
                  <a:cubicBezTo>
                    <a:pt x="100" y="31"/>
                    <a:pt x="99" y="31"/>
                    <a:pt x="98" y="31"/>
                  </a:cubicBezTo>
                  <a:cubicBezTo>
                    <a:pt x="98" y="31"/>
                    <a:pt x="97" y="32"/>
                    <a:pt x="97" y="33"/>
                  </a:cubicBezTo>
                  <a:cubicBezTo>
                    <a:pt x="96" y="34"/>
                    <a:pt x="93" y="45"/>
                    <a:pt x="83" y="50"/>
                  </a:cubicBezTo>
                  <a:cubicBezTo>
                    <a:pt x="77" y="54"/>
                    <a:pt x="69" y="54"/>
                    <a:pt x="60" y="51"/>
                  </a:cubicBezTo>
                  <a:cubicBezTo>
                    <a:pt x="59" y="50"/>
                    <a:pt x="58" y="50"/>
                    <a:pt x="58" y="51"/>
                  </a:cubicBezTo>
                  <a:cubicBezTo>
                    <a:pt x="57" y="51"/>
                    <a:pt x="56" y="52"/>
                    <a:pt x="56" y="53"/>
                  </a:cubicBezTo>
                  <a:cubicBezTo>
                    <a:pt x="56" y="53"/>
                    <a:pt x="56" y="54"/>
                    <a:pt x="56" y="55"/>
                  </a:cubicBezTo>
                  <a:cubicBezTo>
                    <a:pt x="57" y="56"/>
                    <a:pt x="57" y="56"/>
                    <a:pt x="58" y="56"/>
                  </a:cubicBezTo>
                  <a:cubicBezTo>
                    <a:pt x="69" y="60"/>
                    <a:pt x="78" y="60"/>
                    <a:pt x="86" y="56"/>
                  </a:cubicBezTo>
                  <a:cubicBezTo>
                    <a:pt x="96" y="51"/>
                    <a:pt x="100" y="42"/>
                    <a:pt x="102" y="38"/>
                  </a:cubicBezTo>
                  <a:cubicBezTo>
                    <a:pt x="121" y="44"/>
                    <a:pt x="121" y="44"/>
                    <a:pt x="121" y="44"/>
                  </a:cubicBezTo>
                  <a:cubicBezTo>
                    <a:pt x="127" y="46"/>
                    <a:pt x="132" y="46"/>
                    <a:pt x="136" y="43"/>
                  </a:cubicBezTo>
                  <a:cubicBezTo>
                    <a:pt x="142" y="39"/>
                    <a:pt x="143" y="32"/>
                    <a:pt x="143" y="29"/>
                  </a:cubicBezTo>
                  <a:cubicBezTo>
                    <a:pt x="143" y="28"/>
                    <a:pt x="142" y="27"/>
                    <a:pt x="141" y="26"/>
                  </a:cubicBezTo>
                  <a:cubicBezTo>
                    <a:pt x="89" y="8"/>
                    <a:pt x="89" y="8"/>
                    <a:pt x="89" y="8"/>
                  </a:cubicBezTo>
                  <a:cubicBezTo>
                    <a:pt x="83" y="6"/>
                    <a:pt x="78" y="7"/>
                    <a:pt x="73" y="9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7" y="12"/>
                    <a:pt x="63" y="12"/>
                    <a:pt x="59" y="11"/>
                  </a:cubicBezTo>
                  <a:cubicBezTo>
                    <a:pt x="55" y="9"/>
                    <a:pt x="55" y="9"/>
                    <a:pt x="55" y="9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6" y="0"/>
                    <a:pt x="25" y="0"/>
                    <a:pt x="25" y="0"/>
                  </a:cubicBezTo>
                  <a:cubicBezTo>
                    <a:pt x="24" y="0"/>
                    <a:pt x="23" y="1"/>
                    <a:pt x="23" y="2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0" y="68"/>
                    <a:pt x="0" y="69"/>
                    <a:pt x="1" y="70"/>
                  </a:cubicBezTo>
                  <a:cubicBezTo>
                    <a:pt x="1" y="71"/>
                    <a:pt x="2" y="71"/>
                    <a:pt x="2" y="71"/>
                  </a:cubicBezTo>
                  <a:cubicBezTo>
                    <a:pt x="29" y="81"/>
                    <a:pt x="29" y="81"/>
                    <a:pt x="29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1" y="81"/>
                    <a:pt x="31" y="81"/>
                    <a:pt x="32" y="81"/>
                  </a:cubicBezTo>
                  <a:cubicBezTo>
                    <a:pt x="32" y="80"/>
                    <a:pt x="33" y="80"/>
                    <a:pt x="33" y="79"/>
                  </a:cubicBezTo>
                  <a:cubicBezTo>
                    <a:pt x="55" y="16"/>
                    <a:pt x="55" y="16"/>
                    <a:pt x="55" y="16"/>
                  </a:cubicBezTo>
                  <a:lnTo>
                    <a:pt x="57" y="17"/>
                  </a:lnTo>
                  <a:close/>
                  <a:moveTo>
                    <a:pt x="49" y="14"/>
                  </a:moveTo>
                  <a:cubicBezTo>
                    <a:pt x="29" y="74"/>
                    <a:pt x="29" y="74"/>
                    <a:pt x="29" y="74"/>
                  </a:cubicBezTo>
                  <a:cubicBezTo>
                    <a:pt x="7" y="67"/>
                    <a:pt x="7" y="67"/>
                    <a:pt x="7" y="67"/>
                  </a:cubicBezTo>
                  <a:cubicBezTo>
                    <a:pt x="28" y="7"/>
                    <a:pt x="28" y="7"/>
                    <a:pt x="28" y="7"/>
                  </a:cubicBezTo>
                  <a:cubicBezTo>
                    <a:pt x="49" y="14"/>
                    <a:pt x="49" y="14"/>
                    <a:pt x="49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2" name="Freeform 28">
              <a:extLst>
                <a:ext uri="{FF2B5EF4-FFF2-40B4-BE49-F238E27FC236}">
                  <a16:creationId xmlns:a16="http://schemas.microsoft.com/office/drawing/2014/main" id="{2D033253-9A50-4C67-8ED0-CF877C3962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71801" y="2228851"/>
              <a:ext cx="527050" cy="436563"/>
            </a:xfrm>
            <a:custGeom>
              <a:avLst/>
              <a:gdLst>
                <a:gd name="T0" fmla="*/ 133 w 165"/>
                <a:gd name="T1" fmla="*/ 2 h 136"/>
                <a:gd name="T2" fmla="*/ 129 w 165"/>
                <a:gd name="T3" fmla="*/ 0 h 136"/>
                <a:gd name="T4" fmla="*/ 102 w 165"/>
                <a:gd name="T5" fmla="*/ 17 h 136"/>
                <a:gd name="T6" fmla="*/ 122 w 165"/>
                <a:gd name="T7" fmla="*/ 86 h 136"/>
                <a:gd name="T8" fmla="*/ 98 w 165"/>
                <a:gd name="T9" fmla="*/ 106 h 136"/>
                <a:gd name="T10" fmla="*/ 45 w 165"/>
                <a:gd name="T11" fmla="*/ 130 h 136"/>
                <a:gd name="T12" fmla="*/ 42 w 165"/>
                <a:gd name="T13" fmla="*/ 123 h 136"/>
                <a:gd name="T14" fmla="*/ 72 w 165"/>
                <a:gd name="T15" fmla="*/ 107 h 136"/>
                <a:gd name="T16" fmla="*/ 69 w 165"/>
                <a:gd name="T17" fmla="*/ 101 h 136"/>
                <a:gd name="T18" fmla="*/ 22 w 165"/>
                <a:gd name="T19" fmla="*/ 119 h 136"/>
                <a:gd name="T20" fmla="*/ 63 w 165"/>
                <a:gd name="T21" fmla="*/ 93 h 136"/>
                <a:gd name="T22" fmla="*/ 61 w 165"/>
                <a:gd name="T23" fmla="*/ 87 h 136"/>
                <a:gd name="T24" fmla="*/ 17 w 165"/>
                <a:gd name="T25" fmla="*/ 109 h 136"/>
                <a:gd name="T26" fmla="*/ 10 w 165"/>
                <a:gd name="T27" fmla="*/ 106 h 136"/>
                <a:gd name="T28" fmla="*/ 12 w 165"/>
                <a:gd name="T29" fmla="*/ 99 h 136"/>
                <a:gd name="T30" fmla="*/ 54 w 165"/>
                <a:gd name="T31" fmla="*/ 76 h 136"/>
                <a:gd name="T32" fmla="*/ 14 w 165"/>
                <a:gd name="T33" fmla="*/ 91 h 136"/>
                <a:gd name="T34" fmla="*/ 7 w 165"/>
                <a:gd name="T35" fmla="*/ 89 h 136"/>
                <a:gd name="T36" fmla="*/ 10 w 165"/>
                <a:gd name="T37" fmla="*/ 82 h 136"/>
                <a:gd name="T38" fmla="*/ 30 w 165"/>
                <a:gd name="T39" fmla="*/ 69 h 136"/>
                <a:gd name="T40" fmla="*/ 7 w 165"/>
                <a:gd name="T41" fmla="*/ 77 h 136"/>
                <a:gd name="T42" fmla="*/ 2 w 165"/>
                <a:gd name="T43" fmla="*/ 92 h 136"/>
                <a:gd name="T44" fmla="*/ 4 w 165"/>
                <a:gd name="T45" fmla="*/ 109 h 136"/>
                <a:gd name="T46" fmla="*/ 16 w 165"/>
                <a:gd name="T47" fmla="*/ 121 h 136"/>
                <a:gd name="T48" fmla="*/ 31 w 165"/>
                <a:gd name="T49" fmla="*/ 126 h 136"/>
                <a:gd name="T50" fmla="*/ 36 w 165"/>
                <a:gd name="T51" fmla="*/ 130 h 136"/>
                <a:gd name="T52" fmla="*/ 47 w 165"/>
                <a:gd name="T53" fmla="*/ 136 h 136"/>
                <a:gd name="T54" fmla="*/ 101 w 165"/>
                <a:gd name="T55" fmla="*/ 111 h 136"/>
                <a:gd name="T56" fmla="*/ 127 w 165"/>
                <a:gd name="T57" fmla="*/ 91 h 136"/>
                <a:gd name="T58" fmla="*/ 163 w 165"/>
                <a:gd name="T59" fmla="*/ 68 h 136"/>
                <a:gd name="T60" fmla="*/ 157 w 165"/>
                <a:gd name="T61" fmla="*/ 64 h 136"/>
                <a:gd name="T62" fmla="*/ 109 w 165"/>
                <a:gd name="T63" fmla="*/ 17 h 136"/>
                <a:gd name="T64" fmla="*/ 157 w 165"/>
                <a:gd name="T65" fmla="*/ 6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5" h="136">
                  <a:moveTo>
                    <a:pt x="164" y="64"/>
                  </a:moveTo>
                  <a:cubicBezTo>
                    <a:pt x="133" y="2"/>
                    <a:pt x="133" y="2"/>
                    <a:pt x="133" y="2"/>
                  </a:cubicBezTo>
                  <a:cubicBezTo>
                    <a:pt x="133" y="1"/>
                    <a:pt x="132" y="0"/>
                    <a:pt x="132" y="0"/>
                  </a:cubicBezTo>
                  <a:cubicBezTo>
                    <a:pt x="131" y="0"/>
                    <a:pt x="130" y="0"/>
                    <a:pt x="129" y="0"/>
                  </a:cubicBezTo>
                  <a:cubicBezTo>
                    <a:pt x="104" y="13"/>
                    <a:pt x="104" y="13"/>
                    <a:pt x="104" y="13"/>
                  </a:cubicBezTo>
                  <a:cubicBezTo>
                    <a:pt x="102" y="14"/>
                    <a:pt x="102" y="15"/>
                    <a:pt x="102" y="17"/>
                  </a:cubicBezTo>
                  <a:cubicBezTo>
                    <a:pt x="132" y="77"/>
                    <a:pt x="132" y="77"/>
                    <a:pt x="132" y="77"/>
                  </a:cubicBezTo>
                  <a:cubicBezTo>
                    <a:pt x="122" y="86"/>
                    <a:pt x="122" y="86"/>
                    <a:pt x="122" y="86"/>
                  </a:cubicBezTo>
                  <a:cubicBezTo>
                    <a:pt x="121" y="88"/>
                    <a:pt x="119" y="89"/>
                    <a:pt x="118" y="91"/>
                  </a:cubicBezTo>
                  <a:cubicBezTo>
                    <a:pt x="112" y="96"/>
                    <a:pt x="106" y="102"/>
                    <a:pt x="98" y="106"/>
                  </a:cubicBezTo>
                  <a:cubicBezTo>
                    <a:pt x="49" y="130"/>
                    <a:pt x="49" y="130"/>
                    <a:pt x="49" y="130"/>
                  </a:cubicBezTo>
                  <a:cubicBezTo>
                    <a:pt x="48" y="130"/>
                    <a:pt x="46" y="130"/>
                    <a:pt x="45" y="130"/>
                  </a:cubicBezTo>
                  <a:cubicBezTo>
                    <a:pt x="43" y="129"/>
                    <a:pt x="42" y="128"/>
                    <a:pt x="42" y="127"/>
                  </a:cubicBezTo>
                  <a:cubicBezTo>
                    <a:pt x="41" y="126"/>
                    <a:pt x="41" y="125"/>
                    <a:pt x="42" y="123"/>
                  </a:cubicBezTo>
                  <a:cubicBezTo>
                    <a:pt x="42" y="122"/>
                    <a:pt x="43" y="121"/>
                    <a:pt x="44" y="120"/>
                  </a:cubicBezTo>
                  <a:cubicBezTo>
                    <a:pt x="72" y="107"/>
                    <a:pt x="72" y="107"/>
                    <a:pt x="72" y="107"/>
                  </a:cubicBezTo>
                  <a:cubicBezTo>
                    <a:pt x="73" y="106"/>
                    <a:pt x="74" y="104"/>
                    <a:pt x="73" y="103"/>
                  </a:cubicBezTo>
                  <a:cubicBezTo>
                    <a:pt x="72" y="101"/>
                    <a:pt x="70" y="101"/>
                    <a:pt x="69" y="101"/>
                  </a:cubicBezTo>
                  <a:cubicBezTo>
                    <a:pt x="29" y="121"/>
                    <a:pt x="29" y="121"/>
                    <a:pt x="29" y="121"/>
                  </a:cubicBezTo>
                  <a:cubicBezTo>
                    <a:pt x="26" y="122"/>
                    <a:pt x="23" y="121"/>
                    <a:pt x="22" y="119"/>
                  </a:cubicBezTo>
                  <a:cubicBezTo>
                    <a:pt x="20" y="116"/>
                    <a:pt x="22" y="113"/>
                    <a:pt x="24" y="112"/>
                  </a:cubicBezTo>
                  <a:cubicBezTo>
                    <a:pt x="63" y="93"/>
                    <a:pt x="63" y="93"/>
                    <a:pt x="63" y="93"/>
                  </a:cubicBezTo>
                  <a:cubicBezTo>
                    <a:pt x="65" y="92"/>
                    <a:pt x="66" y="90"/>
                    <a:pt x="65" y="88"/>
                  </a:cubicBezTo>
                  <a:cubicBezTo>
                    <a:pt x="64" y="87"/>
                    <a:pt x="62" y="86"/>
                    <a:pt x="61" y="87"/>
                  </a:cubicBezTo>
                  <a:cubicBezTo>
                    <a:pt x="32" y="101"/>
                    <a:pt x="32" y="101"/>
                    <a:pt x="32" y="101"/>
                  </a:cubicBezTo>
                  <a:cubicBezTo>
                    <a:pt x="17" y="109"/>
                    <a:pt x="17" y="109"/>
                    <a:pt x="17" y="109"/>
                  </a:cubicBezTo>
                  <a:cubicBezTo>
                    <a:pt x="15" y="109"/>
                    <a:pt x="14" y="109"/>
                    <a:pt x="13" y="109"/>
                  </a:cubicBezTo>
                  <a:cubicBezTo>
                    <a:pt x="11" y="108"/>
                    <a:pt x="10" y="107"/>
                    <a:pt x="10" y="106"/>
                  </a:cubicBezTo>
                  <a:cubicBezTo>
                    <a:pt x="9" y="105"/>
                    <a:pt x="9" y="104"/>
                    <a:pt x="9" y="102"/>
                  </a:cubicBezTo>
                  <a:cubicBezTo>
                    <a:pt x="10" y="101"/>
                    <a:pt x="11" y="100"/>
                    <a:pt x="12" y="9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4" y="79"/>
                    <a:pt x="54" y="77"/>
                    <a:pt x="54" y="76"/>
                  </a:cubicBezTo>
                  <a:cubicBezTo>
                    <a:pt x="53" y="74"/>
                    <a:pt x="51" y="73"/>
                    <a:pt x="49" y="74"/>
                  </a:cubicBezTo>
                  <a:cubicBezTo>
                    <a:pt x="14" y="91"/>
                    <a:pt x="14" y="91"/>
                    <a:pt x="14" y="91"/>
                  </a:cubicBezTo>
                  <a:cubicBezTo>
                    <a:pt x="13" y="92"/>
                    <a:pt x="12" y="92"/>
                    <a:pt x="10" y="92"/>
                  </a:cubicBezTo>
                  <a:cubicBezTo>
                    <a:pt x="9" y="91"/>
                    <a:pt x="8" y="90"/>
                    <a:pt x="7" y="89"/>
                  </a:cubicBezTo>
                  <a:cubicBezTo>
                    <a:pt x="7" y="88"/>
                    <a:pt x="7" y="86"/>
                    <a:pt x="7" y="85"/>
                  </a:cubicBezTo>
                  <a:cubicBezTo>
                    <a:pt x="8" y="84"/>
                    <a:pt x="8" y="83"/>
                    <a:pt x="10" y="82"/>
                  </a:cubicBezTo>
                  <a:cubicBezTo>
                    <a:pt x="28" y="73"/>
                    <a:pt x="28" y="73"/>
                    <a:pt x="28" y="73"/>
                  </a:cubicBezTo>
                  <a:cubicBezTo>
                    <a:pt x="30" y="72"/>
                    <a:pt x="31" y="70"/>
                    <a:pt x="30" y="69"/>
                  </a:cubicBezTo>
                  <a:cubicBezTo>
                    <a:pt x="29" y="67"/>
                    <a:pt x="27" y="67"/>
                    <a:pt x="26" y="67"/>
                  </a:cubicBezTo>
                  <a:cubicBezTo>
                    <a:pt x="7" y="77"/>
                    <a:pt x="7" y="77"/>
                    <a:pt x="7" y="77"/>
                  </a:cubicBezTo>
                  <a:cubicBezTo>
                    <a:pt x="4" y="78"/>
                    <a:pt x="2" y="80"/>
                    <a:pt x="1" y="83"/>
                  </a:cubicBezTo>
                  <a:cubicBezTo>
                    <a:pt x="0" y="86"/>
                    <a:pt x="1" y="89"/>
                    <a:pt x="2" y="92"/>
                  </a:cubicBezTo>
                  <a:cubicBezTo>
                    <a:pt x="3" y="94"/>
                    <a:pt x="4" y="95"/>
                    <a:pt x="6" y="96"/>
                  </a:cubicBezTo>
                  <a:cubicBezTo>
                    <a:pt x="3" y="100"/>
                    <a:pt x="2" y="105"/>
                    <a:pt x="4" y="109"/>
                  </a:cubicBezTo>
                  <a:cubicBezTo>
                    <a:pt x="6" y="113"/>
                    <a:pt x="11" y="115"/>
                    <a:pt x="15" y="115"/>
                  </a:cubicBezTo>
                  <a:cubicBezTo>
                    <a:pt x="15" y="117"/>
                    <a:pt x="15" y="119"/>
                    <a:pt x="16" y="121"/>
                  </a:cubicBezTo>
                  <a:cubicBezTo>
                    <a:pt x="18" y="125"/>
                    <a:pt x="22" y="128"/>
                    <a:pt x="26" y="128"/>
                  </a:cubicBezTo>
                  <a:cubicBezTo>
                    <a:pt x="28" y="128"/>
                    <a:pt x="30" y="127"/>
                    <a:pt x="31" y="126"/>
                  </a:cubicBezTo>
                  <a:cubicBezTo>
                    <a:pt x="35" y="125"/>
                    <a:pt x="35" y="125"/>
                    <a:pt x="35" y="125"/>
                  </a:cubicBezTo>
                  <a:cubicBezTo>
                    <a:pt x="35" y="126"/>
                    <a:pt x="36" y="128"/>
                    <a:pt x="36" y="130"/>
                  </a:cubicBezTo>
                  <a:cubicBezTo>
                    <a:pt x="38" y="133"/>
                    <a:pt x="40" y="135"/>
                    <a:pt x="43" y="136"/>
                  </a:cubicBezTo>
                  <a:cubicBezTo>
                    <a:pt x="44" y="136"/>
                    <a:pt x="45" y="136"/>
                    <a:pt x="47" y="136"/>
                  </a:cubicBezTo>
                  <a:cubicBezTo>
                    <a:pt x="48" y="136"/>
                    <a:pt x="50" y="136"/>
                    <a:pt x="52" y="135"/>
                  </a:cubicBezTo>
                  <a:cubicBezTo>
                    <a:pt x="101" y="111"/>
                    <a:pt x="101" y="111"/>
                    <a:pt x="101" y="111"/>
                  </a:cubicBezTo>
                  <a:cubicBezTo>
                    <a:pt x="110" y="107"/>
                    <a:pt x="115" y="101"/>
                    <a:pt x="122" y="95"/>
                  </a:cubicBezTo>
                  <a:cubicBezTo>
                    <a:pt x="123" y="94"/>
                    <a:pt x="125" y="92"/>
                    <a:pt x="127" y="91"/>
                  </a:cubicBezTo>
                  <a:cubicBezTo>
                    <a:pt x="138" y="81"/>
                    <a:pt x="138" y="81"/>
                    <a:pt x="138" y="81"/>
                  </a:cubicBezTo>
                  <a:cubicBezTo>
                    <a:pt x="163" y="68"/>
                    <a:pt x="163" y="68"/>
                    <a:pt x="163" y="68"/>
                  </a:cubicBezTo>
                  <a:cubicBezTo>
                    <a:pt x="164" y="67"/>
                    <a:pt x="165" y="66"/>
                    <a:pt x="164" y="64"/>
                  </a:cubicBezTo>
                  <a:close/>
                  <a:moveTo>
                    <a:pt x="157" y="64"/>
                  </a:moveTo>
                  <a:cubicBezTo>
                    <a:pt x="137" y="74"/>
                    <a:pt x="137" y="74"/>
                    <a:pt x="137" y="74"/>
                  </a:cubicBezTo>
                  <a:cubicBezTo>
                    <a:pt x="109" y="17"/>
                    <a:pt x="109" y="17"/>
                    <a:pt x="109" y="17"/>
                  </a:cubicBezTo>
                  <a:cubicBezTo>
                    <a:pt x="129" y="7"/>
                    <a:pt x="129" y="7"/>
                    <a:pt x="129" y="7"/>
                  </a:cubicBezTo>
                  <a:lnTo>
                    <a:pt x="157" y="6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D7536FF7-4FAE-4935-9F77-CA0ED8BBD6BD}"/>
              </a:ext>
            </a:extLst>
          </p:cNvPr>
          <p:cNvGrpSpPr/>
          <p:nvPr/>
        </p:nvGrpSpPr>
        <p:grpSpPr>
          <a:xfrm>
            <a:off x="7104158" y="5620710"/>
            <a:ext cx="2423258" cy="1011727"/>
            <a:chOff x="10895905" y="10667940"/>
            <a:chExt cx="2448487" cy="1796364"/>
          </a:xfrm>
          <a:solidFill>
            <a:schemeClr val="tx1"/>
          </a:solidFill>
        </p:grpSpPr>
        <p:sp>
          <p:nvSpPr>
            <p:cNvPr id="127" name="Speech Bubble: Rectangle with Corners Rounded 126">
              <a:extLst>
                <a:ext uri="{FF2B5EF4-FFF2-40B4-BE49-F238E27FC236}">
                  <a16:creationId xmlns:a16="http://schemas.microsoft.com/office/drawing/2014/main" id="{94E22958-EE8C-494D-BCD0-9F7D00055C0E}"/>
                </a:ext>
              </a:extLst>
            </p:cNvPr>
            <p:cNvSpPr/>
            <p:nvPr/>
          </p:nvSpPr>
          <p:spPr>
            <a:xfrm>
              <a:off x="10895905" y="10682107"/>
              <a:ext cx="2448487" cy="1782197"/>
            </a:xfrm>
            <a:prstGeom prst="wedgeRoundRectCallout">
              <a:avLst>
                <a:gd name="adj1" fmla="val -18802"/>
                <a:gd name="adj2" fmla="val -49537"/>
                <a:gd name="adj3" fmla="val 16667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AF044542-EF90-4E0C-85BB-98F80C0530FC}"/>
                </a:ext>
              </a:extLst>
            </p:cNvPr>
            <p:cNvSpPr txBox="1"/>
            <p:nvPr/>
          </p:nvSpPr>
          <p:spPr>
            <a:xfrm>
              <a:off x="11047148" y="10667940"/>
              <a:ext cx="2203404" cy="174870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400" b="1">
                  <a:solidFill>
                    <a:sysClr val="windowText" lastClr="000000"/>
                  </a:solidFill>
                </a:rPr>
                <a:t>CONTACT US</a:t>
              </a:r>
              <a:br>
                <a:rPr lang="en-AU" sz="1100">
                  <a:solidFill>
                    <a:sysClr val="windowText" lastClr="000000"/>
                  </a:solidFill>
                </a:rPr>
              </a:br>
              <a:r>
                <a:rPr lang="en-AU" sz="1100">
                  <a:solidFill>
                    <a:sysClr val="windowText" lastClr="000000"/>
                  </a:solidFill>
                </a:rPr>
                <a:t>If you have any questions contact [</a:t>
              </a:r>
              <a:r>
                <a:rPr lang="en-AU" sz="1100">
                  <a:solidFill>
                    <a:sysClr val="windowText" lastClr="000000"/>
                  </a:solidFill>
                  <a:highlight>
                    <a:srgbClr val="FFFF00"/>
                  </a:highlight>
                </a:rPr>
                <a:t>CRES provider</a:t>
              </a:r>
              <a:r>
                <a:rPr lang="en-AU" sz="1100">
                  <a:solidFill>
                    <a:sysClr val="windowText" lastClr="000000"/>
                  </a:solidFill>
                </a:rPr>
                <a:t>]</a:t>
              </a:r>
            </a:p>
            <a:p>
              <a:pPr algn="ctr"/>
              <a:r>
                <a:rPr lang="en-AU" sz="1100">
                  <a:solidFill>
                    <a:sysClr val="windowText" lastClr="000000"/>
                  </a:solidFill>
                </a:rPr>
                <a:t>E: </a:t>
              </a:r>
              <a:r>
                <a:rPr lang="en-AU" sz="1100">
                  <a:solidFill>
                    <a:sysClr val="windowText" lastClr="000000"/>
                  </a:solidFill>
                  <a:highlight>
                    <a:srgbClr val="FFFF00"/>
                  </a:highlight>
                </a:rPr>
                <a:t>[email@cresprovider.com]</a:t>
              </a:r>
            </a:p>
            <a:p>
              <a:pPr algn="ctr"/>
              <a:r>
                <a:rPr lang="en-AU" sz="1100">
                  <a:solidFill>
                    <a:sysClr val="windowText" lastClr="000000"/>
                  </a:solidFill>
                </a:rPr>
                <a:t>PH: [</a:t>
              </a:r>
              <a:r>
                <a:rPr lang="en-AU" sz="1100">
                  <a:solidFill>
                    <a:sysClr val="windowText" lastClr="000000"/>
                  </a:solidFill>
                  <a:highlight>
                    <a:srgbClr val="FFFF00"/>
                  </a:highlight>
                </a:rPr>
                <a:t>phone number]</a:t>
              </a:r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5E3EF7DE-6EF1-4BDA-B055-4EA1D799DF64}"/>
              </a:ext>
            </a:extLst>
          </p:cNvPr>
          <p:cNvGrpSpPr/>
          <p:nvPr/>
        </p:nvGrpSpPr>
        <p:grpSpPr>
          <a:xfrm>
            <a:off x="5605157" y="5620711"/>
            <a:ext cx="1466769" cy="1011726"/>
            <a:chOff x="11050049" y="10667940"/>
            <a:chExt cx="2200501" cy="1796362"/>
          </a:xfrm>
          <a:solidFill>
            <a:schemeClr val="tx1"/>
          </a:solidFill>
        </p:grpSpPr>
        <p:sp>
          <p:nvSpPr>
            <p:cNvPr id="130" name="Speech Bubble: Rectangle with Corners Rounded 129">
              <a:extLst>
                <a:ext uri="{FF2B5EF4-FFF2-40B4-BE49-F238E27FC236}">
                  <a16:creationId xmlns:a16="http://schemas.microsoft.com/office/drawing/2014/main" id="{09C28334-C056-4BA0-8E5E-ACBBEE9F27BC}"/>
                </a:ext>
              </a:extLst>
            </p:cNvPr>
            <p:cNvSpPr/>
            <p:nvPr/>
          </p:nvSpPr>
          <p:spPr>
            <a:xfrm>
              <a:off x="11139039" y="10682105"/>
              <a:ext cx="2033876" cy="1782197"/>
            </a:xfrm>
            <a:prstGeom prst="wedgeRoundRectCallout">
              <a:avLst>
                <a:gd name="adj1" fmla="val -18802"/>
                <a:gd name="adj2" fmla="val -49537"/>
                <a:gd name="adj3" fmla="val 16667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75D42475-0940-40B0-9BF5-43E00A885C45}"/>
                </a:ext>
              </a:extLst>
            </p:cNvPr>
            <p:cNvSpPr txBox="1"/>
            <p:nvPr/>
          </p:nvSpPr>
          <p:spPr>
            <a:xfrm>
              <a:off x="11050049" y="10667940"/>
              <a:ext cx="2200501" cy="169405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AU" sz="1400" b="1">
                  <a:solidFill>
                    <a:sysClr val="windowText" lastClr="000000"/>
                  </a:solidFill>
                </a:rPr>
                <a:t>FOR MORE INFORMATION</a:t>
              </a:r>
              <a:endParaRPr lang="en-AU" sz="1100" b="1">
                <a:solidFill>
                  <a:sysClr val="windowText" lastClr="000000"/>
                </a:solidFill>
                <a:highlight>
                  <a:srgbClr val="FFFF00"/>
                </a:highlight>
              </a:endParaRPr>
            </a:p>
            <a:p>
              <a:pPr algn="ctr"/>
              <a:endParaRPr lang="en-AU" sz="600">
                <a:solidFill>
                  <a:sysClr val="windowText" lastClr="000000"/>
                </a:solidFill>
              </a:endParaRPr>
            </a:p>
            <a:p>
              <a:pPr algn="ctr"/>
              <a:r>
                <a:rPr lang="en-AU" sz="1100">
                  <a:solidFill>
                    <a:sysClr val="windowText" lastClr="000000"/>
                  </a:solidFill>
                </a:rPr>
                <a:t>Visit </a:t>
              </a:r>
              <a:r>
                <a:rPr lang="en-AU" sz="1100">
                  <a:solidFill>
                    <a:sysClr val="windowText" lastClr="000000"/>
                  </a:solidFill>
                  <a:highlight>
                    <a:srgbClr val="FFFF00"/>
                  </a:highlight>
                </a:rPr>
                <a:t>[link to CRES landing page]</a:t>
              </a:r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059E7B29-519B-4DB9-BE1F-A3DB872028C4}"/>
              </a:ext>
            </a:extLst>
          </p:cNvPr>
          <p:cNvGrpSpPr/>
          <p:nvPr/>
        </p:nvGrpSpPr>
        <p:grpSpPr>
          <a:xfrm>
            <a:off x="465732" y="884833"/>
            <a:ext cx="8936042" cy="446471"/>
            <a:chOff x="10895904" y="10482274"/>
            <a:chExt cx="2448487" cy="1982028"/>
          </a:xfrm>
          <a:solidFill>
            <a:schemeClr val="tx1"/>
          </a:solidFill>
        </p:grpSpPr>
        <p:sp>
          <p:nvSpPr>
            <p:cNvPr id="134" name="Speech Bubble: Rectangle with Corners Rounded 133">
              <a:extLst>
                <a:ext uri="{FF2B5EF4-FFF2-40B4-BE49-F238E27FC236}">
                  <a16:creationId xmlns:a16="http://schemas.microsoft.com/office/drawing/2014/main" id="{1399C475-6AB8-4E36-9286-9DB97EF7E3F9}"/>
                </a:ext>
              </a:extLst>
            </p:cNvPr>
            <p:cNvSpPr/>
            <p:nvPr/>
          </p:nvSpPr>
          <p:spPr>
            <a:xfrm>
              <a:off x="10895904" y="10682105"/>
              <a:ext cx="2448487" cy="1782197"/>
            </a:xfrm>
            <a:prstGeom prst="wedgeRoundRectCallout">
              <a:avLst>
                <a:gd name="adj1" fmla="val -18802"/>
                <a:gd name="adj2" fmla="val -49537"/>
                <a:gd name="adj3" fmla="val 16667"/>
              </a:avLst>
            </a:prstGeom>
            <a:solidFill>
              <a:schemeClr val="bg1"/>
            </a:solidFill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  <p:sp>
          <p:nvSpPr>
            <p:cNvPr id="135" name="TextBox 134">
              <a:extLst>
                <a:ext uri="{FF2B5EF4-FFF2-40B4-BE49-F238E27FC236}">
                  <a16:creationId xmlns:a16="http://schemas.microsoft.com/office/drawing/2014/main" id="{E1E4190E-0260-41D5-84F0-E283410459FF}"/>
                </a:ext>
              </a:extLst>
            </p:cNvPr>
            <p:cNvSpPr txBox="1"/>
            <p:nvPr/>
          </p:nvSpPr>
          <p:spPr>
            <a:xfrm>
              <a:off x="11004204" y="10482274"/>
              <a:ext cx="2273605" cy="177621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>
                <a:spcAft>
                  <a:spcPts val="600"/>
                </a:spcAft>
              </a:pPr>
              <a:endParaRPr lang="en-AU" sz="10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Times New Roman" panose="02020603050405020304" pitchFamily="18" charset="0"/>
              </a:endParaRPr>
            </a:p>
            <a:p>
              <a:pPr>
                <a:spcAft>
                  <a:spcPts val="600"/>
                </a:spcAft>
              </a:pPr>
              <a:r>
                <a:rPr lang="en-AU" sz="140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Times New Roman" panose="02020603050405020304" pitchFamily="18" charset="0"/>
                </a:rPr>
                <a:t>There are four simple steps to get your child into kinder, and lots of people to help you along the way!</a:t>
              </a:r>
              <a:endParaRPr lang="en-AU" sz="1600">
                <a:solidFill>
                  <a:schemeClr val="tx2"/>
                </a:solidFill>
              </a:endParaRPr>
            </a:p>
          </p:txBody>
        </p:sp>
      </p:grpSp>
      <p:sp>
        <p:nvSpPr>
          <p:cNvPr id="137" name="Rectangle 136">
            <a:extLst>
              <a:ext uri="{FF2B5EF4-FFF2-40B4-BE49-F238E27FC236}">
                <a16:creationId xmlns:a16="http://schemas.microsoft.com/office/drawing/2014/main" id="{18BB0BD7-8B37-4293-864C-E4146B542556}"/>
              </a:ext>
            </a:extLst>
          </p:cNvPr>
          <p:cNvSpPr/>
          <p:nvPr/>
        </p:nvSpPr>
        <p:spPr>
          <a:xfrm>
            <a:off x="3176" y="-22744"/>
            <a:ext cx="9902824" cy="863558"/>
          </a:xfrm>
          <a:prstGeom prst="rect">
            <a:avLst/>
          </a:prstGeom>
          <a:solidFill>
            <a:schemeClr val="accent1">
              <a:alpha val="7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AU">
                <a:solidFill>
                  <a:schemeClr val="tx2"/>
                </a:solidFill>
                <a:highlight>
                  <a:srgbClr val="FFFF00"/>
                </a:highlight>
              </a:rPr>
              <a:t>Council branding here</a:t>
            </a:r>
          </a:p>
        </p:txBody>
      </p:sp>
      <p:sp>
        <p:nvSpPr>
          <p:cNvPr id="138" name="Title 1">
            <a:extLst>
              <a:ext uri="{FF2B5EF4-FFF2-40B4-BE49-F238E27FC236}">
                <a16:creationId xmlns:a16="http://schemas.microsoft.com/office/drawing/2014/main" id="{CB8399B2-D6B5-4E04-8011-719E1A170B50}"/>
              </a:ext>
            </a:extLst>
          </p:cNvPr>
          <p:cNvSpPr txBox="1">
            <a:spLocks/>
          </p:cNvSpPr>
          <p:nvPr/>
        </p:nvSpPr>
        <p:spPr>
          <a:xfrm>
            <a:off x="492106" y="252469"/>
            <a:ext cx="9202632" cy="49511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905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83" b="1" i="0" kern="1200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algn="ctr"/>
            <a:r>
              <a:rPr lang="en-AU">
                <a:solidFill>
                  <a:schemeClr val="tx2"/>
                </a:solidFill>
              </a:rPr>
              <a:t>KINDERGARTEN IN [</a:t>
            </a:r>
            <a:r>
              <a:rPr lang="en-AU">
                <a:solidFill>
                  <a:schemeClr val="tx2"/>
                </a:solidFill>
                <a:highlight>
                  <a:srgbClr val="FFFF00"/>
                </a:highlight>
              </a:rPr>
              <a:t>LGA NAME</a:t>
            </a:r>
            <a:r>
              <a:rPr lang="en-AU">
                <a:solidFill>
                  <a:schemeClr val="tx2"/>
                </a:solidFill>
              </a:rPr>
              <a:t>]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AEA3B2FB-F585-4FD9-B53D-F621B6ADEF35}"/>
              </a:ext>
            </a:extLst>
          </p:cNvPr>
          <p:cNvGrpSpPr>
            <a:grpSpLocks noChangeAspect="1"/>
          </p:cNvGrpSpPr>
          <p:nvPr/>
        </p:nvGrpSpPr>
        <p:grpSpPr>
          <a:xfrm>
            <a:off x="429089" y="5088512"/>
            <a:ext cx="311696" cy="288000"/>
            <a:chOff x="1785938" y="4398963"/>
            <a:chExt cx="542925" cy="501650"/>
          </a:xfrm>
          <a:solidFill>
            <a:schemeClr val="tx2"/>
          </a:solidFill>
        </p:grpSpPr>
        <p:sp>
          <p:nvSpPr>
            <p:cNvPr id="74" name="Freeform 71">
              <a:extLst>
                <a:ext uri="{FF2B5EF4-FFF2-40B4-BE49-F238E27FC236}">
                  <a16:creationId xmlns:a16="http://schemas.microsoft.com/office/drawing/2014/main" id="{B89AC0D8-6F86-40E6-AD99-588DACD785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5" name="Freeform 72">
              <a:extLst>
                <a:ext uri="{FF2B5EF4-FFF2-40B4-BE49-F238E27FC236}">
                  <a16:creationId xmlns:a16="http://schemas.microsoft.com/office/drawing/2014/main" id="{8A31AE70-C123-4D66-B69D-AA2FFC482C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6" name="Freeform 73">
              <a:extLst>
                <a:ext uri="{FF2B5EF4-FFF2-40B4-BE49-F238E27FC236}">
                  <a16:creationId xmlns:a16="http://schemas.microsoft.com/office/drawing/2014/main" id="{22C58ABB-FB68-44EB-8021-EC1329C81E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Freeform 74">
              <a:extLst>
                <a:ext uri="{FF2B5EF4-FFF2-40B4-BE49-F238E27FC236}">
                  <a16:creationId xmlns:a16="http://schemas.microsoft.com/office/drawing/2014/main" id="{6C26A84F-26E5-4B76-B6BA-52B8EA6EC1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8" name="Freeform 75">
              <a:extLst>
                <a:ext uri="{FF2B5EF4-FFF2-40B4-BE49-F238E27FC236}">
                  <a16:creationId xmlns:a16="http://schemas.microsoft.com/office/drawing/2014/main" id="{04C20CD0-857F-4588-B2F1-5F276D38761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79" name="Freeform 76">
              <a:extLst>
                <a:ext uri="{FF2B5EF4-FFF2-40B4-BE49-F238E27FC236}">
                  <a16:creationId xmlns:a16="http://schemas.microsoft.com/office/drawing/2014/main" id="{6298F326-2584-4723-B8D3-B86A2340D6F0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Freeform 77">
              <a:extLst>
                <a:ext uri="{FF2B5EF4-FFF2-40B4-BE49-F238E27FC236}">
                  <a16:creationId xmlns:a16="http://schemas.microsoft.com/office/drawing/2014/main" id="{CA063F2C-47E0-4111-AF01-F3BBE7A7AB4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1" name="Freeform 78">
              <a:extLst>
                <a:ext uri="{FF2B5EF4-FFF2-40B4-BE49-F238E27FC236}">
                  <a16:creationId xmlns:a16="http://schemas.microsoft.com/office/drawing/2014/main" id="{0238CEBA-4CF4-4409-8C68-70E9FEBE033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2" name="Freeform 79">
              <a:extLst>
                <a:ext uri="{FF2B5EF4-FFF2-40B4-BE49-F238E27FC236}">
                  <a16:creationId xmlns:a16="http://schemas.microsoft.com/office/drawing/2014/main" id="{8CFFED29-84F0-49A8-842E-B55A57FA92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5938" y="4398963"/>
              <a:ext cx="542925" cy="501650"/>
            </a:xfrm>
            <a:custGeom>
              <a:avLst/>
              <a:gdLst>
                <a:gd name="T0" fmla="*/ 154 w 170"/>
                <a:gd name="T1" fmla="*/ 7 h 157"/>
                <a:gd name="T2" fmla="*/ 139 w 170"/>
                <a:gd name="T3" fmla="*/ 7 h 157"/>
                <a:gd name="T4" fmla="*/ 139 w 170"/>
                <a:gd name="T5" fmla="*/ 4 h 157"/>
                <a:gd name="T6" fmla="*/ 135 w 170"/>
                <a:gd name="T7" fmla="*/ 0 h 157"/>
                <a:gd name="T8" fmla="*/ 132 w 170"/>
                <a:gd name="T9" fmla="*/ 4 h 157"/>
                <a:gd name="T10" fmla="*/ 132 w 170"/>
                <a:gd name="T11" fmla="*/ 7 h 157"/>
                <a:gd name="T12" fmla="*/ 37 w 170"/>
                <a:gd name="T13" fmla="*/ 7 h 157"/>
                <a:gd name="T14" fmla="*/ 37 w 170"/>
                <a:gd name="T15" fmla="*/ 4 h 157"/>
                <a:gd name="T16" fmla="*/ 35 w 170"/>
                <a:gd name="T17" fmla="*/ 0 h 157"/>
                <a:gd name="T18" fmla="*/ 31 w 170"/>
                <a:gd name="T19" fmla="*/ 4 h 157"/>
                <a:gd name="T20" fmla="*/ 31 w 170"/>
                <a:gd name="T21" fmla="*/ 7 h 157"/>
                <a:gd name="T22" fmla="*/ 15 w 170"/>
                <a:gd name="T23" fmla="*/ 7 h 157"/>
                <a:gd name="T24" fmla="*/ 0 w 170"/>
                <a:gd name="T25" fmla="*/ 22 h 157"/>
                <a:gd name="T26" fmla="*/ 0 w 170"/>
                <a:gd name="T27" fmla="*/ 143 h 157"/>
                <a:gd name="T28" fmla="*/ 15 w 170"/>
                <a:gd name="T29" fmla="*/ 157 h 157"/>
                <a:gd name="T30" fmla="*/ 154 w 170"/>
                <a:gd name="T31" fmla="*/ 157 h 157"/>
                <a:gd name="T32" fmla="*/ 170 w 170"/>
                <a:gd name="T33" fmla="*/ 143 h 157"/>
                <a:gd name="T34" fmla="*/ 170 w 170"/>
                <a:gd name="T35" fmla="*/ 22 h 157"/>
                <a:gd name="T36" fmla="*/ 154 w 170"/>
                <a:gd name="T37" fmla="*/ 7 h 157"/>
                <a:gd name="T38" fmla="*/ 163 w 170"/>
                <a:gd name="T39" fmla="*/ 143 h 157"/>
                <a:gd name="T40" fmla="*/ 154 w 170"/>
                <a:gd name="T41" fmla="*/ 151 h 157"/>
                <a:gd name="T42" fmla="*/ 15 w 170"/>
                <a:gd name="T43" fmla="*/ 151 h 157"/>
                <a:gd name="T44" fmla="*/ 7 w 170"/>
                <a:gd name="T45" fmla="*/ 143 h 157"/>
                <a:gd name="T46" fmla="*/ 7 w 170"/>
                <a:gd name="T47" fmla="*/ 52 h 157"/>
                <a:gd name="T48" fmla="*/ 163 w 170"/>
                <a:gd name="T49" fmla="*/ 52 h 157"/>
                <a:gd name="T50" fmla="*/ 163 w 170"/>
                <a:gd name="T51" fmla="*/ 143 h 157"/>
                <a:gd name="T52" fmla="*/ 163 w 170"/>
                <a:gd name="T53" fmla="*/ 143 h 157"/>
                <a:gd name="T54" fmla="*/ 163 w 170"/>
                <a:gd name="T55" fmla="*/ 46 h 157"/>
                <a:gd name="T56" fmla="*/ 7 w 170"/>
                <a:gd name="T57" fmla="*/ 46 h 157"/>
                <a:gd name="T58" fmla="*/ 7 w 170"/>
                <a:gd name="T59" fmla="*/ 22 h 157"/>
                <a:gd name="T60" fmla="*/ 15 w 170"/>
                <a:gd name="T61" fmla="*/ 14 h 157"/>
                <a:gd name="T62" fmla="*/ 31 w 170"/>
                <a:gd name="T63" fmla="*/ 14 h 157"/>
                <a:gd name="T64" fmla="*/ 31 w 170"/>
                <a:gd name="T65" fmla="*/ 19 h 157"/>
                <a:gd name="T66" fmla="*/ 35 w 170"/>
                <a:gd name="T67" fmla="*/ 22 h 157"/>
                <a:gd name="T68" fmla="*/ 37 w 170"/>
                <a:gd name="T69" fmla="*/ 19 h 157"/>
                <a:gd name="T70" fmla="*/ 37 w 170"/>
                <a:gd name="T71" fmla="*/ 14 h 157"/>
                <a:gd name="T72" fmla="*/ 132 w 170"/>
                <a:gd name="T73" fmla="*/ 14 h 157"/>
                <a:gd name="T74" fmla="*/ 132 w 170"/>
                <a:gd name="T75" fmla="*/ 19 h 157"/>
                <a:gd name="T76" fmla="*/ 135 w 170"/>
                <a:gd name="T77" fmla="*/ 22 h 157"/>
                <a:gd name="T78" fmla="*/ 139 w 170"/>
                <a:gd name="T79" fmla="*/ 19 h 157"/>
                <a:gd name="T80" fmla="*/ 139 w 170"/>
                <a:gd name="T81" fmla="*/ 14 h 157"/>
                <a:gd name="T82" fmla="*/ 154 w 170"/>
                <a:gd name="T83" fmla="*/ 14 h 157"/>
                <a:gd name="T84" fmla="*/ 163 w 170"/>
                <a:gd name="T85" fmla="*/ 22 h 157"/>
                <a:gd name="T86" fmla="*/ 163 w 170"/>
                <a:gd name="T87" fmla="*/ 46 h 157"/>
                <a:gd name="T88" fmla="*/ 163 w 170"/>
                <a:gd name="T89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0" h="157">
                  <a:moveTo>
                    <a:pt x="154" y="7"/>
                  </a:moveTo>
                  <a:cubicBezTo>
                    <a:pt x="139" y="7"/>
                    <a:pt x="139" y="7"/>
                    <a:pt x="139" y="7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2"/>
                    <a:pt x="137" y="0"/>
                    <a:pt x="135" y="0"/>
                  </a:cubicBezTo>
                  <a:cubicBezTo>
                    <a:pt x="134" y="0"/>
                    <a:pt x="132" y="2"/>
                    <a:pt x="132" y="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2"/>
                    <a:pt x="36" y="0"/>
                    <a:pt x="35" y="0"/>
                  </a:cubicBezTo>
                  <a:cubicBezTo>
                    <a:pt x="33" y="0"/>
                    <a:pt x="31" y="2"/>
                    <a:pt x="31" y="4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7" y="7"/>
                    <a:pt x="0" y="14"/>
                    <a:pt x="0" y="22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51"/>
                    <a:pt x="7" y="157"/>
                    <a:pt x="15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63" y="157"/>
                    <a:pt x="170" y="151"/>
                    <a:pt x="170" y="143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70" y="14"/>
                    <a:pt x="163" y="7"/>
                    <a:pt x="154" y="7"/>
                  </a:cubicBezTo>
                  <a:close/>
                  <a:moveTo>
                    <a:pt x="163" y="143"/>
                  </a:moveTo>
                  <a:cubicBezTo>
                    <a:pt x="163" y="147"/>
                    <a:pt x="159" y="151"/>
                    <a:pt x="154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0" y="151"/>
                    <a:pt x="7" y="147"/>
                    <a:pt x="7" y="143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143"/>
                    <a:pt x="163" y="143"/>
                    <a:pt x="163" y="143"/>
                  </a:cubicBezTo>
                  <a:cubicBezTo>
                    <a:pt x="163" y="143"/>
                    <a:pt x="163" y="143"/>
                    <a:pt x="163" y="143"/>
                  </a:cubicBezTo>
                  <a:close/>
                  <a:moveTo>
                    <a:pt x="163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8"/>
                    <a:pt x="10" y="14"/>
                    <a:pt x="15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3" y="22"/>
                    <a:pt x="35" y="22"/>
                  </a:cubicBezTo>
                  <a:cubicBezTo>
                    <a:pt x="36" y="22"/>
                    <a:pt x="37" y="20"/>
                    <a:pt x="37" y="1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4" y="22"/>
                    <a:pt x="135" y="22"/>
                  </a:cubicBezTo>
                  <a:cubicBezTo>
                    <a:pt x="137" y="22"/>
                    <a:pt x="139" y="20"/>
                    <a:pt x="139" y="19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9" y="14"/>
                    <a:pt x="163" y="18"/>
                    <a:pt x="163" y="22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3" y="46"/>
                    <a:pt x="163" y="46"/>
                    <a:pt x="163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Freeform 80">
              <a:extLst>
                <a:ext uri="{FF2B5EF4-FFF2-40B4-BE49-F238E27FC236}">
                  <a16:creationId xmlns:a16="http://schemas.microsoft.com/office/drawing/2014/main" id="{900BF25C-88EF-4D98-BC79-B0004D800D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4" name="Freeform 81">
              <a:extLst>
                <a:ext uri="{FF2B5EF4-FFF2-40B4-BE49-F238E27FC236}">
                  <a16:creationId xmlns:a16="http://schemas.microsoft.com/office/drawing/2014/main" id="{2172411E-A15F-4817-AFC2-98DA285309F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5" name="Freeform 82">
              <a:extLst>
                <a:ext uri="{FF2B5EF4-FFF2-40B4-BE49-F238E27FC236}">
                  <a16:creationId xmlns:a16="http://schemas.microsoft.com/office/drawing/2014/main" id="{96796C2C-B48F-4377-9528-8767FBFCA11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Freeform 83">
              <a:extLst>
                <a:ext uri="{FF2B5EF4-FFF2-40B4-BE49-F238E27FC236}">
                  <a16:creationId xmlns:a16="http://schemas.microsoft.com/office/drawing/2014/main" id="{D4D510D0-D0C9-4AC7-BE7C-413AB4F7971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7" name="Freeform 84">
              <a:extLst>
                <a:ext uri="{FF2B5EF4-FFF2-40B4-BE49-F238E27FC236}">
                  <a16:creationId xmlns:a16="http://schemas.microsoft.com/office/drawing/2014/main" id="{603B8AD5-310C-4A53-A67F-D5DCB166BEEA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8" name="Freeform 85">
              <a:extLst>
                <a:ext uri="{FF2B5EF4-FFF2-40B4-BE49-F238E27FC236}">
                  <a16:creationId xmlns:a16="http://schemas.microsoft.com/office/drawing/2014/main" id="{F15CFF87-32CD-4877-8DAC-F051382EB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Freeform 86">
              <a:extLst>
                <a:ext uri="{FF2B5EF4-FFF2-40B4-BE49-F238E27FC236}">
                  <a16:creationId xmlns:a16="http://schemas.microsoft.com/office/drawing/2014/main" id="{F33841A1-D288-4F1F-B532-95CF1707BE2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0" name="Freeform 87">
              <a:extLst>
                <a:ext uri="{FF2B5EF4-FFF2-40B4-BE49-F238E27FC236}">
                  <a16:creationId xmlns:a16="http://schemas.microsoft.com/office/drawing/2014/main" id="{4853BD60-A6CA-4B4E-801E-8EA263A7A79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9B64F22-C8D9-4471-BE62-DE6A425F17E6}"/>
              </a:ext>
            </a:extLst>
          </p:cNvPr>
          <p:cNvGrpSpPr>
            <a:grpSpLocks noChangeAspect="1"/>
          </p:cNvGrpSpPr>
          <p:nvPr/>
        </p:nvGrpSpPr>
        <p:grpSpPr>
          <a:xfrm>
            <a:off x="5175193" y="4196425"/>
            <a:ext cx="311696" cy="288000"/>
            <a:chOff x="1785938" y="4398963"/>
            <a:chExt cx="542925" cy="501650"/>
          </a:xfrm>
          <a:solidFill>
            <a:schemeClr val="tx2"/>
          </a:solidFill>
        </p:grpSpPr>
        <p:sp>
          <p:nvSpPr>
            <p:cNvPr id="92" name="Freeform 71">
              <a:extLst>
                <a:ext uri="{FF2B5EF4-FFF2-40B4-BE49-F238E27FC236}">
                  <a16:creationId xmlns:a16="http://schemas.microsoft.com/office/drawing/2014/main" id="{8565762E-28F7-4E15-91D1-E8F396C18F2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3" name="Freeform 72">
              <a:extLst>
                <a:ext uri="{FF2B5EF4-FFF2-40B4-BE49-F238E27FC236}">
                  <a16:creationId xmlns:a16="http://schemas.microsoft.com/office/drawing/2014/main" id="{EFD70C6F-0B17-4204-9769-4119DDDA3B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94" name="Freeform 73">
              <a:extLst>
                <a:ext uri="{FF2B5EF4-FFF2-40B4-BE49-F238E27FC236}">
                  <a16:creationId xmlns:a16="http://schemas.microsoft.com/office/drawing/2014/main" id="{8C2D97DE-5E29-4351-9A49-8234D896DC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997075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3" name="Freeform 74">
              <a:extLst>
                <a:ext uri="{FF2B5EF4-FFF2-40B4-BE49-F238E27FC236}">
                  <a16:creationId xmlns:a16="http://schemas.microsoft.com/office/drawing/2014/main" id="{2786FDE7-E2B4-4779-AC1A-C5976F9D8150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24" name="Freeform 75">
              <a:extLst>
                <a:ext uri="{FF2B5EF4-FFF2-40B4-BE49-F238E27FC236}">
                  <a16:creationId xmlns:a16="http://schemas.microsoft.com/office/drawing/2014/main" id="{D9A50536-4278-4E2F-BC18-452766AABE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2" name="Freeform 76">
              <a:extLst>
                <a:ext uri="{FF2B5EF4-FFF2-40B4-BE49-F238E27FC236}">
                  <a16:creationId xmlns:a16="http://schemas.microsoft.com/office/drawing/2014/main" id="{A0609812-1450-4BD7-9420-FB1BCE722D3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86313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6" name="Freeform 77">
              <a:extLst>
                <a:ext uri="{FF2B5EF4-FFF2-40B4-BE49-F238E27FC236}">
                  <a16:creationId xmlns:a16="http://schemas.microsoft.com/office/drawing/2014/main" id="{3F609461-4ECF-4A4E-B54D-171953169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39" name="Freeform 78">
              <a:extLst>
                <a:ext uri="{FF2B5EF4-FFF2-40B4-BE49-F238E27FC236}">
                  <a16:creationId xmlns:a16="http://schemas.microsoft.com/office/drawing/2014/main" id="{4221B5ED-D142-4211-A2EC-3CF64D28785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08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0" name="Freeform 79">
              <a:extLst>
                <a:ext uri="{FF2B5EF4-FFF2-40B4-BE49-F238E27FC236}">
                  <a16:creationId xmlns:a16="http://schemas.microsoft.com/office/drawing/2014/main" id="{8BE5CB5E-C453-402E-80E2-2E4842422C1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85938" y="4398963"/>
              <a:ext cx="542925" cy="501650"/>
            </a:xfrm>
            <a:custGeom>
              <a:avLst/>
              <a:gdLst>
                <a:gd name="T0" fmla="*/ 154 w 170"/>
                <a:gd name="T1" fmla="*/ 7 h 157"/>
                <a:gd name="T2" fmla="*/ 139 w 170"/>
                <a:gd name="T3" fmla="*/ 7 h 157"/>
                <a:gd name="T4" fmla="*/ 139 w 170"/>
                <a:gd name="T5" fmla="*/ 4 h 157"/>
                <a:gd name="T6" fmla="*/ 135 w 170"/>
                <a:gd name="T7" fmla="*/ 0 h 157"/>
                <a:gd name="T8" fmla="*/ 132 w 170"/>
                <a:gd name="T9" fmla="*/ 4 h 157"/>
                <a:gd name="T10" fmla="*/ 132 w 170"/>
                <a:gd name="T11" fmla="*/ 7 h 157"/>
                <a:gd name="T12" fmla="*/ 37 w 170"/>
                <a:gd name="T13" fmla="*/ 7 h 157"/>
                <a:gd name="T14" fmla="*/ 37 w 170"/>
                <a:gd name="T15" fmla="*/ 4 h 157"/>
                <a:gd name="T16" fmla="*/ 35 w 170"/>
                <a:gd name="T17" fmla="*/ 0 h 157"/>
                <a:gd name="T18" fmla="*/ 31 w 170"/>
                <a:gd name="T19" fmla="*/ 4 h 157"/>
                <a:gd name="T20" fmla="*/ 31 w 170"/>
                <a:gd name="T21" fmla="*/ 7 h 157"/>
                <a:gd name="T22" fmla="*/ 15 w 170"/>
                <a:gd name="T23" fmla="*/ 7 h 157"/>
                <a:gd name="T24" fmla="*/ 0 w 170"/>
                <a:gd name="T25" fmla="*/ 22 h 157"/>
                <a:gd name="T26" fmla="*/ 0 w 170"/>
                <a:gd name="T27" fmla="*/ 143 h 157"/>
                <a:gd name="T28" fmla="*/ 15 w 170"/>
                <a:gd name="T29" fmla="*/ 157 h 157"/>
                <a:gd name="T30" fmla="*/ 154 w 170"/>
                <a:gd name="T31" fmla="*/ 157 h 157"/>
                <a:gd name="T32" fmla="*/ 170 w 170"/>
                <a:gd name="T33" fmla="*/ 143 h 157"/>
                <a:gd name="T34" fmla="*/ 170 w 170"/>
                <a:gd name="T35" fmla="*/ 22 h 157"/>
                <a:gd name="T36" fmla="*/ 154 w 170"/>
                <a:gd name="T37" fmla="*/ 7 h 157"/>
                <a:gd name="T38" fmla="*/ 163 w 170"/>
                <a:gd name="T39" fmla="*/ 143 h 157"/>
                <a:gd name="T40" fmla="*/ 154 w 170"/>
                <a:gd name="T41" fmla="*/ 151 h 157"/>
                <a:gd name="T42" fmla="*/ 15 w 170"/>
                <a:gd name="T43" fmla="*/ 151 h 157"/>
                <a:gd name="T44" fmla="*/ 7 w 170"/>
                <a:gd name="T45" fmla="*/ 143 h 157"/>
                <a:gd name="T46" fmla="*/ 7 w 170"/>
                <a:gd name="T47" fmla="*/ 52 h 157"/>
                <a:gd name="T48" fmla="*/ 163 w 170"/>
                <a:gd name="T49" fmla="*/ 52 h 157"/>
                <a:gd name="T50" fmla="*/ 163 w 170"/>
                <a:gd name="T51" fmla="*/ 143 h 157"/>
                <a:gd name="T52" fmla="*/ 163 w 170"/>
                <a:gd name="T53" fmla="*/ 143 h 157"/>
                <a:gd name="T54" fmla="*/ 163 w 170"/>
                <a:gd name="T55" fmla="*/ 46 h 157"/>
                <a:gd name="T56" fmla="*/ 7 w 170"/>
                <a:gd name="T57" fmla="*/ 46 h 157"/>
                <a:gd name="T58" fmla="*/ 7 w 170"/>
                <a:gd name="T59" fmla="*/ 22 h 157"/>
                <a:gd name="T60" fmla="*/ 15 w 170"/>
                <a:gd name="T61" fmla="*/ 14 h 157"/>
                <a:gd name="T62" fmla="*/ 31 w 170"/>
                <a:gd name="T63" fmla="*/ 14 h 157"/>
                <a:gd name="T64" fmla="*/ 31 w 170"/>
                <a:gd name="T65" fmla="*/ 19 h 157"/>
                <a:gd name="T66" fmla="*/ 35 w 170"/>
                <a:gd name="T67" fmla="*/ 22 h 157"/>
                <a:gd name="T68" fmla="*/ 37 w 170"/>
                <a:gd name="T69" fmla="*/ 19 h 157"/>
                <a:gd name="T70" fmla="*/ 37 w 170"/>
                <a:gd name="T71" fmla="*/ 14 h 157"/>
                <a:gd name="T72" fmla="*/ 132 w 170"/>
                <a:gd name="T73" fmla="*/ 14 h 157"/>
                <a:gd name="T74" fmla="*/ 132 w 170"/>
                <a:gd name="T75" fmla="*/ 19 h 157"/>
                <a:gd name="T76" fmla="*/ 135 w 170"/>
                <a:gd name="T77" fmla="*/ 22 h 157"/>
                <a:gd name="T78" fmla="*/ 139 w 170"/>
                <a:gd name="T79" fmla="*/ 19 h 157"/>
                <a:gd name="T80" fmla="*/ 139 w 170"/>
                <a:gd name="T81" fmla="*/ 14 h 157"/>
                <a:gd name="T82" fmla="*/ 154 w 170"/>
                <a:gd name="T83" fmla="*/ 14 h 157"/>
                <a:gd name="T84" fmla="*/ 163 w 170"/>
                <a:gd name="T85" fmla="*/ 22 h 157"/>
                <a:gd name="T86" fmla="*/ 163 w 170"/>
                <a:gd name="T87" fmla="*/ 46 h 157"/>
                <a:gd name="T88" fmla="*/ 163 w 170"/>
                <a:gd name="T89" fmla="*/ 46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0" h="157">
                  <a:moveTo>
                    <a:pt x="154" y="7"/>
                  </a:moveTo>
                  <a:cubicBezTo>
                    <a:pt x="139" y="7"/>
                    <a:pt x="139" y="7"/>
                    <a:pt x="139" y="7"/>
                  </a:cubicBezTo>
                  <a:cubicBezTo>
                    <a:pt x="139" y="4"/>
                    <a:pt x="139" y="4"/>
                    <a:pt x="139" y="4"/>
                  </a:cubicBezTo>
                  <a:cubicBezTo>
                    <a:pt x="139" y="2"/>
                    <a:pt x="137" y="0"/>
                    <a:pt x="135" y="0"/>
                  </a:cubicBezTo>
                  <a:cubicBezTo>
                    <a:pt x="134" y="0"/>
                    <a:pt x="132" y="2"/>
                    <a:pt x="132" y="4"/>
                  </a:cubicBezTo>
                  <a:cubicBezTo>
                    <a:pt x="132" y="7"/>
                    <a:pt x="132" y="7"/>
                    <a:pt x="132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7" y="4"/>
                    <a:pt x="37" y="4"/>
                    <a:pt x="37" y="4"/>
                  </a:cubicBezTo>
                  <a:cubicBezTo>
                    <a:pt x="37" y="2"/>
                    <a:pt x="36" y="0"/>
                    <a:pt x="35" y="0"/>
                  </a:cubicBezTo>
                  <a:cubicBezTo>
                    <a:pt x="33" y="0"/>
                    <a:pt x="31" y="2"/>
                    <a:pt x="31" y="4"/>
                  </a:cubicBezTo>
                  <a:cubicBezTo>
                    <a:pt x="31" y="7"/>
                    <a:pt x="31" y="7"/>
                    <a:pt x="31" y="7"/>
                  </a:cubicBezTo>
                  <a:cubicBezTo>
                    <a:pt x="15" y="7"/>
                    <a:pt x="15" y="7"/>
                    <a:pt x="15" y="7"/>
                  </a:cubicBezTo>
                  <a:cubicBezTo>
                    <a:pt x="7" y="7"/>
                    <a:pt x="0" y="14"/>
                    <a:pt x="0" y="22"/>
                  </a:cubicBezTo>
                  <a:cubicBezTo>
                    <a:pt x="0" y="143"/>
                    <a:pt x="0" y="143"/>
                    <a:pt x="0" y="143"/>
                  </a:cubicBezTo>
                  <a:cubicBezTo>
                    <a:pt x="0" y="151"/>
                    <a:pt x="7" y="157"/>
                    <a:pt x="15" y="15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63" y="157"/>
                    <a:pt x="170" y="151"/>
                    <a:pt x="170" y="143"/>
                  </a:cubicBezTo>
                  <a:cubicBezTo>
                    <a:pt x="170" y="22"/>
                    <a:pt x="170" y="22"/>
                    <a:pt x="170" y="22"/>
                  </a:cubicBezTo>
                  <a:cubicBezTo>
                    <a:pt x="170" y="14"/>
                    <a:pt x="163" y="7"/>
                    <a:pt x="154" y="7"/>
                  </a:cubicBezTo>
                  <a:close/>
                  <a:moveTo>
                    <a:pt x="163" y="143"/>
                  </a:moveTo>
                  <a:cubicBezTo>
                    <a:pt x="163" y="147"/>
                    <a:pt x="159" y="151"/>
                    <a:pt x="154" y="151"/>
                  </a:cubicBezTo>
                  <a:cubicBezTo>
                    <a:pt x="15" y="151"/>
                    <a:pt x="15" y="151"/>
                    <a:pt x="15" y="151"/>
                  </a:cubicBezTo>
                  <a:cubicBezTo>
                    <a:pt x="10" y="151"/>
                    <a:pt x="7" y="147"/>
                    <a:pt x="7" y="143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163" y="52"/>
                    <a:pt x="163" y="52"/>
                    <a:pt x="163" y="52"/>
                  </a:cubicBezTo>
                  <a:cubicBezTo>
                    <a:pt x="163" y="143"/>
                    <a:pt x="163" y="143"/>
                    <a:pt x="163" y="143"/>
                  </a:cubicBezTo>
                  <a:cubicBezTo>
                    <a:pt x="163" y="143"/>
                    <a:pt x="163" y="143"/>
                    <a:pt x="163" y="143"/>
                  </a:cubicBezTo>
                  <a:close/>
                  <a:moveTo>
                    <a:pt x="163" y="46"/>
                  </a:moveTo>
                  <a:cubicBezTo>
                    <a:pt x="7" y="46"/>
                    <a:pt x="7" y="46"/>
                    <a:pt x="7" y="46"/>
                  </a:cubicBezTo>
                  <a:cubicBezTo>
                    <a:pt x="7" y="22"/>
                    <a:pt x="7" y="22"/>
                    <a:pt x="7" y="22"/>
                  </a:cubicBezTo>
                  <a:cubicBezTo>
                    <a:pt x="7" y="18"/>
                    <a:pt x="10" y="14"/>
                    <a:pt x="15" y="14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31" y="19"/>
                    <a:pt x="31" y="19"/>
                    <a:pt x="31" y="19"/>
                  </a:cubicBezTo>
                  <a:cubicBezTo>
                    <a:pt x="31" y="20"/>
                    <a:pt x="33" y="22"/>
                    <a:pt x="35" y="22"/>
                  </a:cubicBezTo>
                  <a:cubicBezTo>
                    <a:pt x="36" y="22"/>
                    <a:pt x="37" y="20"/>
                    <a:pt x="37" y="19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132" y="14"/>
                    <a:pt x="132" y="14"/>
                    <a:pt x="132" y="14"/>
                  </a:cubicBezTo>
                  <a:cubicBezTo>
                    <a:pt x="132" y="19"/>
                    <a:pt x="132" y="19"/>
                    <a:pt x="132" y="19"/>
                  </a:cubicBezTo>
                  <a:cubicBezTo>
                    <a:pt x="132" y="20"/>
                    <a:pt x="134" y="22"/>
                    <a:pt x="135" y="22"/>
                  </a:cubicBezTo>
                  <a:cubicBezTo>
                    <a:pt x="137" y="22"/>
                    <a:pt x="139" y="20"/>
                    <a:pt x="139" y="19"/>
                  </a:cubicBezTo>
                  <a:cubicBezTo>
                    <a:pt x="139" y="14"/>
                    <a:pt x="139" y="14"/>
                    <a:pt x="139" y="14"/>
                  </a:cubicBezTo>
                  <a:cubicBezTo>
                    <a:pt x="154" y="14"/>
                    <a:pt x="154" y="14"/>
                    <a:pt x="154" y="14"/>
                  </a:cubicBezTo>
                  <a:cubicBezTo>
                    <a:pt x="159" y="14"/>
                    <a:pt x="163" y="18"/>
                    <a:pt x="163" y="22"/>
                  </a:cubicBezTo>
                  <a:cubicBezTo>
                    <a:pt x="163" y="46"/>
                    <a:pt x="163" y="46"/>
                    <a:pt x="163" y="46"/>
                  </a:cubicBezTo>
                  <a:cubicBezTo>
                    <a:pt x="163" y="46"/>
                    <a:pt x="163" y="46"/>
                    <a:pt x="163" y="4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1" name="Freeform 80">
              <a:extLst>
                <a:ext uri="{FF2B5EF4-FFF2-40B4-BE49-F238E27FC236}">
                  <a16:creationId xmlns:a16="http://schemas.microsoft.com/office/drawing/2014/main" id="{4CEB5CD6-7102-453A-9FE8-863ADBE50E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86313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2" name="Freeform 81">
              <a:extLst>
                <a:ext uri="{FF2B5EF4-FFF2-40B4-BE49-F238E27FC236}">
                  <a16:creationId xmlns:a16="http://schemas.microsoft.com/office/drawing/2014/main" id="{83B0DB54-6979-4342-80F8-EC72F2E93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3" name="Freeform 82">
              <a:extLst>
                <a:ext uri="{FF2B5EF4-FFF2-40B4-BE49-F238E27FC236}">
                  <a16:creationId xmlns:a16="http://schemas.microsoft.com/office/drawing/2014/main" id="{6B09F9EE-BBBD-421A-AFD9-FC84C80C70FF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4" name="Freeform 83">
              <a:extLst>
                <a:ext uri="{FF2B5EF4-FFF2-40B4-BE49-F238E27FC236}">
                  <a16:creationId xmlns:a16="http://schemas.microsoft.com/office/drawing/2014/main" id="{2C8FC8FA-24CC-4A53-91F0-261760509E6A}"/>
                </a:ext>
              </a:extLst>
            </p:cNvPr>
            <p:cNvSpPr>
              <a:spLocks/>
            </p:cNvSpPr>
            <p:nvPr/>
          </p:nvSpPr>
          <p:spPr bwMode="auto">
            <a:xfrm>
              <a:off x="2070100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5" name="Freeform 84">
              <a:extLst>
                <a:ext uri="{FF2B5EF4-FFF2-40B4-BE49-F238E27FC236}">
                  <a16:creationId xmlns:a16="http://schemas.microsoft.com/office/drawing/2014/main" id="{3AECE4FC-E1E4-42CE-8FE8-87AC294B106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4675" y="4616451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6" name="Freeform 85">
              <a:extLst>
                <a:ext uri="{FF2B5EF4-FFF2-40B4-BE49-F238E27FC236}">
                  <a16:creationId xmlns:a16="http://schemas.microsoft.com/office/drawing/2014/main" id="{6327E5D4-2129-42F1-BB91-124793034D5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702176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7" name="Freeform 86">
              <a:extLst>
                <a:ext uri="{FF2B5EF4-FFF2-40B4-BE49-F238E27FC236}">
                  <a16:creationId xmlns:a16="http://schemas.microsoft.com/office/drawing/2014/main" id="{A55E25B0-F802-44CB-B34F-BFC4CA773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2147888" y="4616451"/>
              <a:ext cx="44450" cy="44450"/>
            </a:xfrm>
            <a:custGeom>
              <a:avLst/>
              <a:gdLst>
                <a:gd name="T0" fmla="*/ 0 w 28"/>
                <a:gd name="T1" fmla="*/ 0 h 28"/>
                <a:gd name="T2" fmla="*/ 28 w 28"/>
                <a:gd name="T3" fmla="*/ 0 h 28"/>
                <a:gd name="T4" fmla="*/ 28 w 28"/>
                <a:gd name="T5" fmla="*/ 28 h 28"/>
                <a:gd name="T6" fmla="*/ 0 w 28"/>
                <a:gd name="T7" fmla="*/ 28 h 28"/>
                <a:gd name="T8" fmla="*/ 0 w 28"/>
                <a:gd name="T9" fmla="*/ 0 h 28"/>
                <a:gd name="T10" fmla="*/ 0 w 28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8">
                  <a:moveTo>
                    <a:pt x="0" y="0"/>
                  </a:moveTo>
                  <a:lnTo>
                    <a:pt x="28" y="0"/>
                  </a:lnTo>
                  <a:lnTo>
                    <a:pt x="28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  <p:sp>
          <p:nvSpPr>
            <p:cNvPr id="148" name="Freeform 87">
              <a:extLst>
                <a:ext uri="{FF2B5EF4-FFF2-40B4-BE49-F238E27FC236}">
                  <a16:creationId xmlns:a16="http://schemas.microsoft.com/office/drawing/2014/main" id="{53922B89-DFAF-48A6-90FA-96611846AE89}"/>
                </a:ext>
              </a:extLst>
            </p:cNvPr>
            <p:cNvSpPr>
              <a:spLocks/>
            </p:cNvSpPr>
            <p:nvPr/>
          </p:nvSpPr>
          <p:spPr bwMode="auto">
            <a:xfrm>
              <a:off x="2220913" y="4702176"/>
              <a:ext cx="47625" cy="44450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30 w 30"/>
                <a:gd name="T5" fmla="*/ 28 h 28"/>
                <a:gd name="T6" fmla="*/ 0 w 30"/>
                <a:gd name="T7" fmla="*/ 28 h 28"/>
                <a:gd name="T8" fmla="*/ 0 w 30"/>
                <a:gd name="T9" fmla="*/ 0 h 28"/>
                <a:gd name="T10" fmla="*/ 0 w 30"/>
                <a:gd name="T11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30" y="28"/>
                  </a:lnTo>
                  <a:lnTo>
                    <a:pt x="0" y="28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AU">
                <a:solidFill>
                  <a:sysClr val="windowText" lastClr="000000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FD7A5E25-B0A6-4122-AC38-8351686267FE}"/>
              </a:ext>
            </a:extLst>
          </p:cNvPr>
          <p:cNvSpPr/>
          <p:nvPr/>
        </p:nvSpPr>
        <p:spPr>
          <a:xfrm>
            <a:off x="4674791" y="5676574"/>
            <a:ext cx="900000" cy="900000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>
                <a:solidFill>
                  <a:sysClr val="windowText" lastClr="000000"/>
                </a:solidFill>
                <a:highlight>
                  <a:srgbClr val="FFFF00"/>
                </a:highlight>
              </a:rPr>
              <a:t>Space for QR code if using</a:t>
            </a:r>
          </a:p>
        </p:txBody>
      </p:sp>
    </p:spTree>
    <p:extLst>
      <p:ext uri="{BB962C8B-B14F-4D97-AF65-F5344CB8AC3E}">
        <p14:creationId xmlns:p14="http://schemas.microsoft.com/office/powerpoint/2010/main" val="23125477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RNLBEPNgLPdACqMBQQ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EWn5KyUAVDG.sT_5KB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EWn5KyUAVDG.sT_5KBUw"/>
</p:tagLst>
</file>

<file path=ppt/theme/theme1.xml><?xml version="1.0" encoding="utf-8"?>
<a:theme xmlns:a="http://schemas.openxmlformats.org/drawingml/2006/main" name="Office Theme">
  <a:themeElements>
    <a:clrScheme name="Custom 7">
      <a:dk1>
        <a:srgbClr val="AF272F"/>
      </a:dk1>
      <a:lt1>
        <a:srgbClr val="FFFFFF"/>
      </a:lt1>
      <a:dk2>
        <a:srgbClr val="000000"/>
      </a:dk2>
      <a:lt2>
        <a:srgbClr val="E7E6E6"/>
      </a:lt2>
      <a:accent1>
        <a:srgbClr val="D9D9D6"/>
      </a:accent1>
      <a:accent2>
        <a:srgbClr val="E57100"/>
      </a:accent2>
      <a:accent3>
        <a:srgbClr val="00B7BD"/>
      </a:accent3>
      <a:accent4>
        <a:srgbClr val="AF272F"/>
      </a:accent4>
      <a:accent5>
        <a:srgbClr val="53565A"/>
      </a:accent5>
      <a:accent6>
        <a:srgbClr val="D9D9D6"/>
      </a:accent6>
      <a:hlink>
        <a:srgbClr val="AF272F"/>
      </a:hlink>
      <a:folHlink>
        <a:srgbClr val="8A2A2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Education State mm" id="{76674763-5168-5A43-B885-70229A3C9853}" vid="{5B63F1B7-68D2-9544-BF41-7E35658C625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WebCM Documents" ma:contentTypeID="0x0101008840106FE30D4F50BC61A726A7CA6E3800A01D47DD30CBB54F95863B7DC80A2CEC" ma:contentTypeVersion="12" ma:contentTypeDescription="WebCM Documents Content Type" ma:contentTypeScope="" ma:versionID="e4139b3a0e7d3d8cb92e2992b6712403">
  <xsd:schema xmlns:xsd="http://www.w3.org/2001/XMLSchema" xmlns:xs="http://www.w3.org/2001/XMLSchema" xmlns:p="http://schemas.microsoft.com/office/2006/metadata/properties" xmlns:ns1="http://schemas.microsoft.com/sharepoint/v3" xmlns:ns2="76b566cd-adb9-46c2-964b-22eba181fd0b" xmlns:ns3="cb9114c1-daad-44dd-acad-30f4246641f2" targetNamespace="http://schemas.microsoft.com/office/2006/metadata/properties" ma:root="true" ma:fieldsID="df9e21a9d9be030ba6d9139b7d031c32" ns1:_="" ns2:_="" ns3:_="">
    <xsd:import namespace="http://schemas.microsoft.com/sharepoint/v3"/>
    <xsd:import namespace="76b566cd-adb9-46c2-964b-22eba181fd0b"/>
    <xsd:import namespace="cb9114c1-daad-44dd-acad-30f4246641f2"/>
    <xsd:element name="properties">
      <xsd:complexType>
        <xsd:sequence>
          <xsd:element name="documentManagement">
            <xsd:complexType>
              <xsd:all>
                <xsd:element ref="ns1:DEECD_Description" minOccurs="0"/>
                <xsd:element ref="ns1:DEECD_Publisher" minOccurs="0"/>
                <xsd:element ref="ns1:DEECD_Keywords" minOccurs="0"/>
                <xsd:element ref="ns1:DEECD_Expired" minOccurs="0"/>
                <xsd:element ref="ns2:PublishingStartDate" minOccurs="0"/>
                <xsd:element ref="ns1:PublishingExpirationDate" minOccurs="0"/>
                <xsd:element ref="ns3:TaxCatchAll" minOccurs="0"/>
                <xsd:element ref="ns2:pfad5814e62747ed9f131defefc62dac" minOccurs="0"/>
                <xsd:element ref="ns2:a319977fc8504e09982f090ae1d7c602" minOccurs="0"/>
                <xsd:element ref="ns2:ofbb8b9a280a423a91cf717fb81349cd" minOccurs="0"/>
                <xsd:element ref="ns2:b1688cb4a3a940449dc8286705012a42" minOccurs="0"/>
                <xsd:element ref="ns2:hyperlink" minOccurs="0"/>
                <xsd:element ref="ns2:hyperlink2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DEECD_Description" ma:index="2" nillable="true" ma:displayName="Description" ma:description="" ma:internalName="DEECD_Description">
      <xsd:simpleType>
        <xsd:restriction base="dms:Note">
          <xsd:maxLength value="255"/>
        </xsd:restriction>
      </xsd:simpleType>
    </xsd:element>
    <xsd:element name="DEECD_Publisher" ma:index="3" nillable="true" ma:displayName="Publisher" ma:default="Department of Education and Training" ma:internalName="DEECD_Publisher">
      <xsd:simpleType>
        <xsd:restriction base="dms:Text">
          <xsd:maxLength value="255"/>
        </xsd:restriction>
      </xsd:simpleType>
    </xsd:element>
    <xsd:element name="DEECD_Keywords" ma:index="7" nillable="true" ma:displayName="Keywords" ma:internalName="DEECD_Keywords">
      <xsd:simpleType>
        <xsd:restriction base="dms:Note">
          <xsd:maxLength value="255"/>
        </xsd:restriction>
      </xsd:simpleType>
    </xsd:element>
    <xsd:element name="DEECD_Expired" ma:index="8" nillable="true" ma:displayName="Expired" ma:default="0" ma:internalName="DEECD_Expired">
      <xsd:simpleType>
        <xsd:restriction base="dms:Boolean"/>
      </xsd:simpleType>
    </xsd:element>
    <xsd:element name="PublishingExpirationDate" ma:index="10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b566cd-adb9-46c2-964b-22eba181fd0b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9" nillable="true" ma:displayName="Scheduling Start Date" ma:internalName="PublishingStartDate">
      <xsd:simpleType>
        <xsd:restriction base="dms:Unknown"/>
      </xsd:simpleType>
    </xsd:element>
    <xsd:element name="pfad5814e62747ed9f131defefc62dac" ma:index="19" nillable="true" ma:taxonomy="true" ma:internalName="pfad5814e62747ed9f131defefc62dac" ma:taxonomyFieldName="DEECD_SubjectCategory" ma:displayName="Subject Category" ma:readOnly="false" ma:fieldId="{9fad5814-e627-47ed-9f13-1defefc62dac}" ma:sspId="272df97b-2740-40bb-9c0d-572a441144cd" ma:termSetId="cc6468fc-15c3-4209-9517-a733b6c8043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319977fc8504e09982f090ae1d7c602" ma:index="20" nillable="true" ma:taxonomy="true" ma:internalName="a319977fc8504e09982f090ae1d7c602" ma:taxonomyFieldName="DEECD_ItemType" ma:displayName="Item Type" ma:default="101;#Page|eb523acf-a821-456c-a76b-7607578309d7" ma:fieldId="{a319977f-c850-4e09-982f-090ae1d7c602}" ma:sspId="272df97b-2740-40bb-9c0d-572a441144cd" ma:termSetId="87a54e1a-a086-4056-9430-e3def70b5bc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fbb8b9a280a423a91cf717fb81349cd" ma:index="21" nillable="true" ma:taxonomy="true" ma:internalName="ofbb8b9a280a423a91cf717fb81349cd" ma:taxonomyFieldName="DEECD_Author" ma:displayName="Author" ma:default="94;#Education|5232e41c-5101-41fe-b638-7d41d1371531" ma:fieldId="{8fbb8b9a-280a-423a-91cf-717fb81349cd}" ma:sspId="272df97b-2740-40bb-9c0d-572a441144cd" ma:termSetId="f9681774-4169-418a-ae49-9bc331f72a4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b1688cb4a3a940449dc8286705012a42" ma:index="22" nillable="true" ma:taxonomy="true" ma:internalName="b1688cb4a3a940449dc8286705012a42" ma:taxonomyFieldName="DEECD_Audience" ma:displayName="Audience" ma:fieldId="{b1688cb4-a3a9-4044-9dc8-286705012a42}" ma:taxonomyMulti="true" ma:sspId="272df97b-2740-40bb-9c0d-572a441144cd" ma:termSetId="af0be819-ce00-4865-904d-8408c82c230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yperlink" ma:index="24" nillable="true" ma:displayName="hyperlink" ma:format="Hyperlink" ma:internalName="hyperlink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hyperlink2" ma:index="25" nillable="true" ma:displayName="hyperlink2" ma:format="Hyperlink" ma:internalName="hyperlink2" ma:readOnly="fals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9114c1-daad-44dd-acad-30f4246641f2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d7017a8d-dd8f-40f0-bbcf-d0d7f718f6eb}" ma:internalName="TaxCatchAll" ma:showField="CatchAllData" ma:web="cb9114c1-daad-44dd-acad-30f4246641f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4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ECD_Publisher xmlns="http://schemas.microsoft.com/sharepoint/v3">Department of Education and Training</DEECD_Publisher>
    <a319977fc8504e09982f090ae1d7c602 xmlns="76b566cd-adb9-46c2-964b-22eba181fd0b">
      <Terms xmlns="http://schemas.microsoft.com/office/infopath/2007/PartnerControls">
        <TermInfo xmlns="http://schemas.microsoft.com/office/infopath/2007/PartnerControls">
          <TermName xmlns="http://schemas.microsoft.com/office/infopath/2007/PartnerControls">Page</TermName>
          <TermId xmlns="http://schemas.microsoft.com/office/infopath/2007/PartnerControls">eb523acf-a821-456c-a76b-7607578309d7</TermId>
        </TermInfo>
      </Terms>
    </a319977fc8504e09982f090ae1d7c602>
    <TaxCatchAll xmlns="cb9114c1-daad-44dd-acad-30f4246641f2">
      <Value>101</Value>
      <Value>94</Value>
    </TaxCatchAll>
    <DEECD_Expired xmlns="http://schemas.microsoft.com/sharepoint/v3">false</DEECD_Expired>
    <DEECD_Keywords xmlns="http://schemas.microsoft.com/sharepoint/v3" xsi:nil="true"/>
    <PublishingExpirationDate xmlns="http://schemas.microsoft.com/sharepoint/v3" xsi:nil="true"/>
    <DEECD_Description xmlns="http://schemas.microsoft.com/sharepoint/v3">Appendix A.2 - CRES Fact sheet for families and carers (1 page landscape)</DEECD_Description>
    <b1688cb4a3a940449dc8286705012a42 xmlns="76b566cd-adb9-46c2-964b-22eba181fd0b">
      <Terms xmlns="http://schemas.microsoft.com/office/infopath/2007/PartnerControls"/>
    </b1688cb4a3a940449dc8286705012a42>
    <PublishingStartDate xmlns="76b566cd-adb9-46c2-964b-22eba181fd0b" xsi:nil="true"/>
    <ofbb8b9a280a423a91cf717fb81349cd xmlns="76b566cd-adb9-46c2-964b-22eba181fd0b">
      <Terms xmlns="http://schemas.microsoft.com/office/infopath/2007/PartnerControls">
        <TermInfo xmlns="http://schemas.microsoft.com/office/infopath/2007/PartnerControls">
          <TermName xmlns="http://schemas.microsoft.com/office/infopath/2007/PartnerControls">Education</TermName>
          <TermId xmlns="http://schemas.microsoft.com/office/infopath/2007/PartnerControls">5232e41c-5101-41fe-b638-7d41d1371531</TermId>
        </TermInfo>
      </Terms>
    </ofbb8b9a280a423a91cf717fb81349cd>
    <pfad5814e62747ed9f131defefc62dac xmlns="76b566cd-adb9-46c2-964b-22eba181fd0b">
      <Terms xmlns="http://schemas.microsoft.com/office/infopath/2007/PartnerControls"/>
    </pfad5814e62747ed9f131defefc62dac>
    <hyperlink xmlns="76b566cd-adb9-46c2-964b-22eba181fd0b">
      <Url xsi:nil="true"/>
      <Description xsi:nil="true"/>
    </hyperlink>
    <hyperlink2 xmlns="76b566cd-adb9-46c2-964b-22eba181fd0b">
      <Url xsi:nil="true"/>
      <Description xsi:nil="true"/>
    </hyperlink2>
  </documentManagement>
</p:properties>
</file>

<file path=customXml/itemProps1.xml><?xml version="1.0" encoding="utf-8"?>
<ds:datastoreItem xmlns:ds="http://schemas.openxmlformats.org/officeDocument/2006/customXml" ds:itemID="{2592A0AD-2F09-46D4-9DE4-D5CB189ACB1C}"/>
</file>

<file path=customXml/itemProps2.xml><?xml version="1.0" encoding="utf-8"?>
<ds:datastoreItem xmlns:ds="http://schemas.openxmlformats.org/officeDocument/2006/customXml" ds:itemID="{19AD6A45-3104-4FB8-991C-D13CB064F55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C08B779-F415-4408-9374-9F93F1A0AF48}">
  <ds:schemaRefs>
    <ds:schemaRef ds:uri="http://purl.org/dc/terms/"/>
    <ds:schemaRef ds:uri="http://purl.org/dc/dcmitype/"/>
    <ds:schemaRef ds:uri="c10f4a48-0b78-43ad-8a22-6707c806cbc3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ducation State mm</Template>
  <TotalTime>39</TotalTime>
  <Words>794</Words>
  <Application>Microsoft Office PowerPoint</Application>
  <PresentationFormat>A4 Paper (210x297 mm)</PresentationFormat>
  <Paragraphs>97</Paragraphs>
  <Slides>2</Slides>
  <Notes>0</Notes>
  <HiddenSlides>1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.AppleSystemUIFont</vt:lpstr>
      <vt:lpstr>Arial</vt:lpstr>
      <vt:lpstr>Calibri</vt:lpstr>
      <vt:lpstr>Courier New</vt:lpstr>
      <vt:lpstr>Office Theme</vt:lpstr>
      <vt:lpstr>think-cell Slide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Grace, Courtney C</cp:lastModifiedBy>
  <cp:revision>10</cp:revision>
  <dcterms:created xsi:type="dcterms:W3CDTF">2017-08-18T01:53:25Z</dcterms:created>
  <dcterms:modified xsi:type="dcterms:W3CDTF">2020-11-22T21:59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840106FE30D4F50BC61A726A7CA6E3800A01D47DD30CBB54F95863B7DC80A2CEC</vt:lpwstr>
  </property>
  <property fmtid="{D5CDD505-2E9C-101B-9397-08002B2CF9AE}" pid="3" name="DET_EDRMS_RCS">
    <vt:lpwstr/>
  </property>
  <property fmtid="{D5CDD505-2E9C-101B-9397-08002B2CF9AE}" pid="4" name="DET_EDRMS_SecClass">
    <vt:lpwstr/>
  </property>
  <property fmtid="{D5CDD505-2E9C-101B-9397-08002B2CF9AE}" pid="5" name="DET_EDRMS_BusUnit">
    <vt:lpwstr/>
  </property>
  <property fmtid="{D5CDD505-2E9C-101B-9397-08002B2CF9AE}" pid="6" name="RecordPoint_WorkflowType">
    <vt:lpwstr>ActiveSubmitStub</vt:lpwstr>
  </property>
  <property fmtid="{D5CDD505-2E9C-101B-9397-08002B2CF9AE}" pid="7" name="RecordPoint_ActiveItemListId">
    <vt:lpwstr>{d945a56b-d943-46a4-ad9c-f3340e2b9c17}</vt:lpwstr>
  </property>
  <property fmtid="{D5CDD505-2E9C-101B-9397-08002B2CF9AE}" pid="8" name="RecordPoint_ActiveItemUniqueId">
    <vt:lpwstr>{0dd694ae-04a2-4e39-920d-1eb21378cd29}</vt:lpwstr>
  </property>
  <property fmtid="{D5CDD505-2E9C-101B-9397-08002B2CF9AE}" pid="9" name="RecordPoint_ActiveItemWebId">
    <vt:lpwstr>{2cb12009-40d9-454b-bd16-8fe8fc19de2f}</vt:lpwstr>
  </property>
  <property fmtid="{D5CDD505-2E9C-101B-9397-08002B2CF9AE}" pid="10" name="RecordPoint_ActiveItemSiteId">
    <vt:lpwstr>{675c9dc5-b1c9-4227-baa0-339d4f32c562}</vt:lpwstr>
  </property>
  <property fmtid="{D5CDD505-2E9C-101B-9397-08002B2CF9AE}" pid="11" name="RecordPoint_RecordNumberSubmitted">
    <vt:lpwstr/>
  </property>
  <property fmtid="{D5CDD505-2E9C-101B-9397-08002B2CF9AE}" pid="12" name="RecordPoint_SubmissionCompleted">
    <vt:lpwstr/>
  </property>
  <property fmtid="{D5CDD505-2E9C-101B-9397-08002B2CF9AE}" pid="13" name="RecordPoint_SubmissionDate">
    <vt:lpwstr/>
  </property>
  <property fmtid="{D5CDD505-2E9C-101B-9397-08002B2CF9AE}" pid="14" name="RecordPoint_ActiveItemMoved">
    <vt:lpwstr/>
  </property>
  <property fmtid="{D5CDD505-2E9C-101B-9397-08002B2CF9AE}" pid="15" name="RecordPoint_RecordFormat">
    <vt:lpwstr/>
  </property>
  <property fmtid="{D5CDD505-2E9C-101B-9397-08002B2CF9AE}" pid="16" name="DEECD_Author">
    <vt:lpwstr>94;#Education|5232e41c-5101-41fe-b638-7d41d1371531</vt:lpwstr>
  </property>
  <property fmtid="{D5CDD505-2E9C-101B-9397-08002B2CF9AE}" pid="17" name="DEECD_ItemType">
    <vt:lpwstr>101;#Page|eb523acf-a821-456c-a76b-7607578309d7</vt:lpwstr>
  </property>
  <property fmtid="{D5CDD505-2E9C-101B-9397-08002B2CF9AE}" pid="18" name="DEECD_SubjectCategory">
    <vt:lpwstr/>
  </property>
  <property fmtid="{D5CDD505-2E9C-101B-9397-08002B2CF9AE}" pid="19" name="DEECD_Audience">
    <vt:lpwstr/>
  </property>
</Properties>
</file>